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43"/>
  </p:notesMasterIdLst>
  <p:sldIdLst>
    <p:sldId id="309" r:id="rId2"/>
    <p:sldId id="308" r:id="rId3"/>
    <p:sldId id="284" r:id="rId4"/>
    <p:sldId id="285" r:id="rId5"/>
    <p:sldId id="286" r:id="rId6"/>
    <p:sldId id="315" r:id="rId7"/>
    <p:sldId id="287" r:id="rId8"/>
    <p:sldId id="288" r:id="rId9"/>
    <p:sldId id="257" r:id="rId10"/>
    <p:sldId id="290" r:id="rId11"/>
    <p:sldId id="294" r:id="rId12"/>
    <p:sldId id="295" r:id="rId13"/>
    <p:sldId id="258" r:id="rId14"/>
    <p:sldId id="259" r:id="rId15"/>
    <p:sldId id="322" r:id="rId16"/>
    <p:sldId id="260" r:id="rId17"/>
    <p:sldId id="261" r:id="rId18"/>
    <p:sldId id="262" r:id="rId19"/>
    <p:sldId id="264" r:id="rId20"/>
    <p:sldId id="320" r:id="rId21"/>
    <p:sldId id="319" r:id="rId22"/>
    <p:sldId id="321" r:id="rId23"/>
    <p:sldId id="270" r:id="rId24"/>
    <p:sldId id="271" r:id="rId25"/>
    <p:sldId id="272" r:id="rId26"/>
    <p:sldId id="273" r:id="rId27"/>
    <p:sldId id="296" r:id="rId28"/>
    <p:sldId id="314" r:id="rId29"/>
    <p:sldId id="274" r:id="rId30"/>
    <p:sldId id="275" r:id="rId31"/>
    <p:sldId id="278" r:id="rId32"/>
    <p:sldId id="280" r:id="rId33"/>
    <p:sldId id="300" r:id="rId34"/>
    <p:sldId id="302" r:id="rId35"/>
    <p:sldId id="297" r:id="rId36"/>
    <p:sldId id="298" r:id="rId37"/>
    <p:sldId id="307" r:id="rId38"/>
    <p:sldId id="304" r:id="rId39"/>
    <p:sldId id="306" r:id="rId40"/>
    <p:sldId id="312" r:id="rId41"/>
    <p:sldId id="311" r:id="rId4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9D18E"/>
    <a:srgbClr val="FFFF00"/>
    <a:srgbClr val="FFC000"/>
    <a:srgbClr val="FF0000"/>
    <a:srgbClr val="C00000"/>
    <a:srgbClr val="70AD4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48" autoAdjust="0"/>
    <p:restoredTop sz="95055" autoAdjust="0"/>
  </p:normalViewPr>
  <p:slideViewPr>
    <p:cSldViewPr snapToGrid="0" snapToObjects="1">
      <p:cViewPr varScale="1">
        <p:scale>
          <a:sx n="81" d="100"/>
          <a:sy n="81" d="100"/>
        </p:scale>
        <p:origin x="725" y="4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63B5B2B-F6A6-8441-A576-D26F920DC37F}" type="doc">
      <dgm:prSet loTypeId="urn:microsoft.com/office/officeart/2005/8/layout/pyramid1" loCatId="" qsTypeId="urn:microsoft.com/office/officeart/2005/8/quickstyle/simple4" qsCatId="simple" csTypeId="urn:microsoft.com/office/officeart/2005/8/colors/colorful3" csCatId="colorful" phldr="1"/>
      <dgm:spPr/>
    </dgm:pt>
    <dgm:pt modelId="{7B85411E-E25C-6F42-91E4-53D6A772A7AE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US" sz="2000" dirty="0"/>
            <a:t>Reduction</a:t>
          </a:r>
        </a:p>
      </dgm:t>
    </dgm:pt>
    <dgm:pt modelId="{1F49EEF7-00DB-F24E-ABA1-76F8D1DAA17B}" type="parTrans" cxnId="{F4BD41E2-66AF-FD41-B3E4-D1D9BA0E0489}">
      <dgm:prSet/>
      <dgm:spPr/>
      <dgm:t>
        <a:bodyPr/>
        <a:lstStyle/>
        <a:p>
          <a:endParaRPr lang="en-US"/>
        </a:p>
      </dgm:t>
    </dgm:pt>
    <dgm:pt modelId="{7E267195-F0D2-F446-B54C-EC6424F5757D}" type="sibTrans" cxnId="{F4BD41E2-66AF-FD41-B3E4-D1D9BA0E0489}">
      <dgm:prSet/>
      <dgm:spPr/>
      <dgm:t>
        <a:bodyPr/>
        <a:lstStyle/>
        <a:p>
          <a:endParaRPr lang="en-US"/>
        </a:p>
      </dgm:t>
    </dgm:pt>
    <dgm:pt modelId="{761DA577-FE2E-1D4B-90D0-641EE07F9D88}">
      <dgm:prSet phldrT="[Text]" custT="1"/>
      <dgm:spPr>
        <a:solidFill>
          <a:srgbClr val="FFFF00"/>
        </a:solidFill>
      </dgm:spPr>
      <dgm:t>
        <a:bodyPr/>
        <a:lstStyle/>
        <a:p>
          <a:r>
            <a:rPr lang="en-US" sz="2000" dirty="0"/>
            <a:t>Reuse</a:t>
          </a:r>
        </a:p>
      </dgm:t>
    </dgm:pt>
    <dgm:pt modelId="{233C13BD-E584-CC4A-841F-18ABEF05A60D}" type="parTrans" cxnId="{E81B47A4-8275-714F-AAE4-11DDDFB37008}">
      <dgm:prSet/>
      <dgm:spPr/>
      <dgm:t>
        <a:bodyPr/>
        <a:lstStyle/>
        <a:p>
          <a:endParaRPr lang="en-US"/>
        </a:p>
      </dgm:t>
    </dgm:pt>
    <dgm:pt modelId="{EE783346-9836-534D-84F2-4BD295C9BE78}" type="sibTrans" cxnId="{E81B47A4-8275-714F-AAE4-11DDDFB37008}">
      <dgm:prSet/>
      <dgm:spPr/>
      <dgm:t>
        <a:bodyPr/>
        <a:lstStyle/>
        <a:p>
          <a:endParaRPr lang="en-US"/>
        </a:p>
      </dgm:t>
    </dgm:pt>
    <dgm:pt modelId="{13EE726E-487B-BC42-956A-027D42CABA5C}">
      <dgm:prSet phldrT="[Text]" custT="1"/>
      <dgm:spPr>
        <a:solidFill>
          <a:srgbClr val="FFC000"/>
        </a:solidFill>
      </dgm:spPr>
      <dgm:t>
        <a:bodyPr/>
        <a:lstStyle/>
        <a:p>
          <a:r>
            <a:rPr lang="en-US" sz="2000"/>
            <a:t>Recycling</a:t>
          </a:r>
          <a:endParaRPr lang="en-US" sz="2000" dirty="0"/>
        </a:p>
      </dgm:t>
    </dgm:pt>
    <dgm:pt modelId="{64E3511B-7E49-764F-99C6-260A3CE823FF}" type="parTrans" cxnId="{48C3A3BC-42BB-574B-B352-676F1D08287C}">
      <dgm:prSet/>
      <dgm:spPr/>
      <dgm:t>
        <a:bodyPr/>
        <a:lstStyle/>
        <a:p>
          <a:endParaRPr lang="en-US"/>
        </a:p>
      </dgm:t>
    </dgm:pt>
    <dgm:pt modelId="{730F1F49-C290-164E-95BF-400B875FFE30}" type="sibTrans" cxnId="{48C3A3BC-42BB-574B-B352-676F1D08287C}">
      <dgm:prSet/>
      <dgm:spPr/>
      <dgm:t>
        <a:bodyPr/>
        <a:lstStyle/>
        <a:p>
          <a:endParaRPr lang="en-US"/>
        </a:p>
      </dgm:t>
    </dgm:pt>
    <dgm:pt modelId="{9070CC88-EB24-E342-9919-2FCA608334E5}">
      <dgm:prSet phldrT="[Text]" custT="1"/>
      <dgm:spPr>
        <a:solidFill>
          <a:srgbClr val="FF0000"/>
        </a:solidFill>
      </dgm:spPr>
      <dgm:t>
        <a:bodyPr/>
        <a:lstStyle/>
        <a:p>
          <a:r>
            <a:rPr lang="en-US" sz="2000"/>
            <a:t>Energy recovery</a:t>
          </a:r>
          <a:endParaRPr lang="en-US" sz="2000" dirty="0"/>
        </a:p>
      </dgm:t>
    </dgm:pt>
    <dgm:pt modelId="{30E0EEE2-ED8D-344C-BEF1-43872E0C324F}" type="parTrans" cxnId="{5956DCBB-16F7-5D44-958D-C05DEB8C222C}">
      <dgm:prSet/>
      <dgm:spPr/>
      <dgm:t>
        <a:bodyPr/>
        <a:lstStyle/>
        <a:p>
          <a:endParaRPr lang="en-US"/>
        </a:p>
      </dgm:t>
    </dgm:pt>
    <dgm:pt modelId="{2ECC5143-3180-3C4B-811C-998BB359243F}" type="sibTrans" cxnId="{5956DCBB-16F7-5D44-958D-C05DEB8C222C}">
      <dgm:prSet/>
      <dgm:spPr/>
      <dgm:t>
        <a:bodyPr/>
        <a:lstStyle/>
        <a:p>
          <a:endParaRPr lang="en-US"/>
        </a:p>
      </dgm:t>
    </dgm:pt>
    <dgm:pt modelId="{17F7B346-7E44-884B-B208-34553535058F}">
      <dgm:prSet phldrT="[Text]" custT="1"/>
      <dgm:spPr>
        <a:solidFill>
          <a:srgbClr val="C00000"/>
        </a:solidFill>
      </dgm:spPr>
      <dgm:t>
        <a:bodyPr/>
        <a:lstStyle/>
        <a:p>
          <a:r>
            <a:rPr lang="en-US" sz="2000" dirty="0"/>
            <a:t>Disposal</a:t>
          </a:r>
        </a:p>
      </dgm:t>
    </dgm:pt>
    <dgm:pt modelId="{AE3C9A01-2803-544D-9237-2EC60AD9C246}" type="parTrans" cxnId="{70E05AA2-8852-724A-AC88-971615452AC0}">
      <dgm:prSet/>
      <dgm:spPr/>
      <dgm:t>
        <a:bodyPr/>
        <a:lstStyle/>
        <a:p>
          <a:endParaRPr lang="en-US"/>
        </a:p>
      </dgm:t>
    </dgm:pt>
    <dgm:pt modelId="{E9E48421-DF2E-E243-AFA0-DCCF2D7A210A}" type="sibTrans" cxnId="{70E05AA2-8852-724A-AC88-971615452AC0}">
      <dgm:prSet/>
      <dgm:spPr/>
      <dgm:t>
        <a:bodyPr/>
        <a:lstStyle/>
        <a:p>
          <a:endParaRPr lang="en-US"/>
        </a:p>
      </dgm:t>
    </dgm:pt>
    <dgm:pt modelId="{487C6DDB-16EA-8048-89A6-EBE7F5139E87}">
      <dgm:prSet phldrT="[Text]"/>
      <dgm:spPr>
        <a:solidFill>
          <a:schemeClr val="accent6"/>
        </a:solidFill>
      </dgm:spPr>
      <dgm:t>
        <a:bodyPr/>
        <a:lstStyle/>
        <a:p>
          <a:endParaRPr lang="en-US" dirty="0"/>
        </a:p>
      </dgm:t>
    </dgm:pt>
    <dgm:pt modelId="{B187C270-F206-EB47-969D-F237983DA29B}" type="sibTrans" cxnId="{FE5729D9-B480-4043-AF2B-FAAE076BAE54}">
      <dgm:prSet/>
      <dgm:spPr/>
      <dgm:t>
        <a:bodyPr/>
        <a:lstStyle/>
        <a:p>
          <a:endParaRPr lang="en-US"/>
        </a:p>
      </dgm:t>
    </dgm:pt>
    <dgm:pt modelId="{F4C6CB43-A4A1-B344-B75F-5C507D5AB346}" type="parTrans" cxnId="{FE5729D9-B480-4043-AF2B-FAAE076BAE54}">
      <dgm:prSet/>
      <dgm:spPr/>
      <dgm:t>
        <a:bodyPr/>
        <a:lstStyle/>
        <a:p>
          <a:endParaRPr lang="en-US"/>
        </a:p>
      </dgm:t>
    </dgm:pt>
    <dgm:pt modelId="{6ECD5B3B-9384-5444-8A5D-3417A6E94D0F}" type="pres">
      <dgm:prSet presAssocID="{E63B5B2B-F6A6-8441-A576-D26F920DC37F}" presName="Name0" presStyleCnt="0">
        <dgm:presLayoutVars>
          <dgm:dir/>
          <dgm:animLvl val="lvl"/>
          <dgm:resizeHandles val="exact"/>
        </dgm:presLayoutVars>
      </dgm:prSet>
      <dgm:spPr/>
    </dgm:pt>
    <dgm:pt modelId="{4C6A5A9E-52EB-664C-8E84-0B6237493D5E}" type="pres">
      <dgm:prSet presAssocID="{487C6DDB-16EA-8048-89A6-EBE7F5139E87}" presName="Name8" presStyleCnt="0"/>
      <dgm:spPr/>
    </dgm:pt>
    <dgm:pt modelId="{F18AD3D4-3EBF-6740-A7F5-A34CCB8DAF75}" type="pres">
      <dgm:prSet presAssocID="{487C6DDB-16EA-8048-89A6-EBE7F5139E87}" presName="level" presStyleLbl="node1" presStyleIdx="0" presStyleCnt="6" custLinFactNeighborY="0">
        <dgm:presLayoutVars>
          <dgm:chMax val="1"/>
          <dgm:bulletEnabled val="1"/>
        </dgm:presLayoutVars>
      </dgm:prSet>
      <dgm:spPr/>
    </dgm:pt>
    <dgm:pt modelId="{6C68EA97-559F-5B4C-BAEF-7523CDE8859F}" type="pres">
      <dgm:prSet presAssocID="{487C6DDB-16EA-8048-89A6-EBE7F5139E8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D8399FB-5995-A348-BEB7-AC598E062549}" type="pres">
      <dgm:prSet presAssocID="{7B85411E-E25C-6F42-91E4-53D6A772A7AE}" presName="Name8" presStyleCnt="0"/>
      <dgm:spPr/>
    </dgm:pt>
    <dgm:pt modelId="{E4AD5763-DCE8-8646-9423-0796D183EB64}" type="pres">
      <dgm:prSet presAssocID="{7B85411E-E25C-6F42-91E4-53D6A772A7AE}" presName="level" presStyleLbl="node1" presStyleIdx="1" presStyleCnt="6">
        <dgm:presLayoutVars>
          <dgm:chMax val="1"/>
          <dgm:bulletEnabled val="1"/>
        </dgm:presLayoutVars>
      </dgm:prSet>
      <dgm:spPr/>
    </dgm:pt>
    <dgm:pt modelId="{AC8E9D14-6819-8F4A-9C5D-059395C22341}" type="pres">
      <dgm:prSet presAssocID="{7B85411E-E25C-6F42-91E4-53D6A772A7AE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9E4AA830-91D0-0541-A272-2817ECCF0C25}" type="pres">
      <dgm:prSet presAssocID="{761DA577-FE2E-1D4B-90D0-641EE07F9D88}" presName="Name8" presStyleCnt="0"/>
      <dgm:spPr/>
    </dgm:pt>
    <dgm:pt modelId="{49A2C099-09E7-5845-9B71-7892FA5F19FA}" type="pres">
      <dgm:prSet presAssocID="{761DA577-FE2E-1D4B-90D0-641EE07F9D88}" presName="level" presStyleLbl="node1" presStyleIdx="2" presStyleCnt="6">
        <dgm:presLayoutVars>
          <dgm:chMax val="1"/>
          <dgm:bulletEnabled val="1"/>
        </dgm:presLayoutVars>
      </dgm:prSet>
      <dgm:spPr/>
    </dgm:pt>
    <dgm:pt modelId="{3E34D7F9-55F3-AE4B-82A2-173B2B147DA6}" type="pres">
      <dgm:prSet presAssocID="{761DA577-FE2E-1D4B-90D0-641EE07F9D8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3F559EEF-40ED-164D-BA25-7684CFE7966F}" type="pres">
      <dgm:prSet presAssocID="{13EE726E-487B-BC42-956A-027D42CABA5C}" presName="Name8" presStyleCnt="0"/>
      <dgm:spPr/>
    </dgm:pt>
    <dgm:pt modelId="{10773469-3A0F-944C-A64E-5813C95065EA}" type="pres">
      <dgm:prSet presAssocID="{13EE726E-487B-BC42-956A-027D42CABA5C}" presName="level" presStyleLbl="node1" presStyleIdx="3" presStyleCnt="6">
        <dgm:presLayoutVars>
          <dgm:chMax val="1"/>
          <dgm:bulletEnabled val="1"/>
        </dgm:presLayoutVars>
      </dgm:prSet>
      <dgm:spPr/>
    </dgm:pt>
    <dgm:pt modelId="{FA4DB1DE-A406-3B45-877A-D855E498BDD6}" type="pres">
      <dgm:prSet presAssocID="{13EE726E-487B-BC42-956A-027D42CABA5C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751D3CF-4B1F-6745-90AB-D68983DE85B9}" type="pres">
      <dgm:prSet presAssocID="{9070CC88-EB24-E342-9919-2FCA608334E5}" presName="Name8" presStyleCnt="0"/>
      <dgm:spPr/>
    </dgm:pt>
    <dgm:pt modelId="{7D0C00B8-FBB5-E542-BB8C-D7C0963864DD}" type="pres">
      <dgm:prSet presAssocID="{9070CC88-EB24-E342-9919-2FCA608334E5}" presName="level" presStyleLbl="node1" presStyleIdx="4" presStyleCnt="6">
        <dgm:presLayoutVars>
          <dgm:chMax val="1"/>
          <dgm:bulletEnabled val="1"/>
        </dgm:presLayoutVars>
      </dgm:prSet>
      <dgm:spPr/>
    </dgm:pt>
    <dgm:pt modelId="{7F1E56D0-FCE2-0E43-AE50-B92A1C2A4023}" type="pres">
      <dgm:prSet presAssocID="{9070CC88-EB24-E342-9919-2FCA608334E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8AD44FA-A843-7B4C-B095-72629FE63ABF}" type="pres">
      <dgm:prSet presAssocID="{17F7B346-7E44-884B-B208-34553535058F}" presName="Name8" presStyleCnt="0"/>
      <dgm:spPr/>
    </dgm:pt>
    <dgm:pt modelId="{E0640EEF-CCD0-A143-B7C0-98B8459BB784}" type="pres">
      <dgm:prSet presAssocID="{17F7B346-7E44-884B-B208-34553535058F}" presName="level" presStyleLbl="node1" presStyleIdx="5" presStyleCnt="6">
        <dgm:presLayoutVars>
          <dgm:chMax val="1"/>
          <dgm:bulletEnabled val="1"/>
        </dgm:presLayoutVars>
      </dgm:prSet>
      <dgm:spPr/>
    </dgm:pt>
    <dgm:pt modelId="{DBA6EBB8-21A0-894A-BA2E-6E7C6406075C}" type="pres">
      <dgm:prSet presAssocID="{17F7B346-7E44-884B-B208-34553535058F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5225D632-6F84-C446-ABE1-22101DA8FCEC}" type="presOf" srcId="{7B85411E-E25C-6F42-91E4-53D6A772A7AE}" destId="{E4AD5763-DCE8-8646-9423-0796D183EB64}" srcOrd="0" destOrd="0" presId="urn:microsoft.com/office/officeart/2005/8/layout/pyramid1"/>
    <dgm:cxn modelId="{D925753D-07D3-E64F-837B-27A7E849106E}" type="presOf" srcId="{487C6DDB-16EA-8048-89A6-EBE7F5139E87}" destId="{6C68EA97-559F-5B4C-BAEF-7523CDE8859F}" srcOrd="1" destOrd="0" presId="urn:microsoft.com/office/officeart/2005/8/layout/pyramid1"/>
    <dgm:cxn modelId="{E2412A5B-50B9-2240-BA99-AF7B4A36FC96}" type="presOf" srcId="{9070CC88-EB24-E342-9919-2FCA608334E5}" destId="{7D0C00B8-FBB5-E542-BB8C-D7C0963864DD}" srcOrd="0" destOrd="0" presId="urn:microsoft.com/office/officeart/2005/8/layout/pyramid1"/>
    <dgm:cxn modelId="{8D7B9641-3008-5145-9316-8BA398CF2DB3}" type="presOf" srcId="{761DA577-FE2E-1D4B-90D0-641EE07F9D88}" destId="{3E34D7F9-55F3-AE4B-82A2-173B2B147DA6}" srcOrd="1" destOrd="0" presId="urn:microsoft.com/office/officeart/2005/8/layout/pyramid1"/>
    <dgm:cxn modelId="{2425DA43-E55A-8D4E-B178-D82D6DBC63EA}" type="presOf" srcId="{17F7B346-7E44-884B-B208-34553535058F}" destId="{E0640EEF-CCD0-A143-B7C0-98B8459BB784}" srcOrd="0" destOrd="0" presId="urn:microsoft.com/office/officeart/2005/8/layout/pyramid1"/>
    <dgm:cxn modelId="{E311BA49-721A-F448-AA5A-C7ADB2E9CF33}" type="presOf" srcId="{13EE726E-487B-BC42-956A-027D42CABA5C}" destId="{FA4DB1DE-A406-3B45-877A-D855E498BDD6}" srcOrd="1" destOrd="0" presId="urn:microsoft.com/office/officeart/2005/8/layout/pyramid1"/>
    <dgm:cxn modelId="{CDF1C7A0-FB09-BC41-A93F-06095DA71800}" type="presOf" srcId="{7B85411E-E25C-6F42-91E4-53D6A772A7AE}" destId="{AC8E9D14-6819-8F4A-9C5D-059395C22341}" srcOrd="1" destOrd="0" presId="urn:microsoft.com/office/officeart/2005/8/layout/pyramid1"/>
    <dgm:cxn modelId="{70E05AA2-8852-724A-AC88-971615452AC0}" srcId="{E63B5B2B-F6A6-8441-A576-D26F920DC37F}" destId="{17F7B346-7E44-884B-B208-34553535058F}" srcOrd="5" destOrd="0" parTransId="{AE3C9A01-2803-544D-9237-2EC60AD9C246}" sibTransId="{E9E48421-DF2E-E243-AFA0-DCCF2D7A210A}"/>
    <dgm:cxn modelId="{E81B47A4-8275-714F-AAE4-11DDDFB37008}" srcId="{E63B5B2B-F6A6-8441-A576-D26F920DC37F}" destId="{761DA577-FE2E-1D4B-90D0-641EE07F9D88}" srcOrd="2" destOrd="0" parTransId="{233C13BD-E584-CC4A-841F-18ABEF05A60D}" sibTransId="{EE783346-9836-534D-84F2-4BD295C9BE78}"/>
    <dgm:cxn modelId="{31DF11B9-28BD-8444-BC6B-0860BF508713}" type="presOf" srcId="{9070CC88-EB24-E342-9919-2FCA608334E5}" destId="{7F1E56D0-FCE2-0E43-AE50-B92A1C2A4023}" srcOrd="1" destOrd="0" presId="urn:microsoft.com/office/officeart/2005/8/layout/pyramid1"/>
    <dgm:cxn modelId="{057EE2BA-FABE-B544-8988-EEBB0153F960}" type="presOf" srcId="{13EE726E-487B-BC42-956A-027D42CABA5C}" destId="{10773469-3A0F-944C-A64E-5813C95065EA}" srcOrd="0" destOrd="0" presId="urn:microsoft.com/office/officeart/2005/8/layout/pyramid1"/>
    <dgm:cxn modelId="{00631FBB-398A-AA4A-BEB4-46CD0B0DE9B1}" type="presOf" srcId="{761DA577-FE2E-1D4B-90D0-641EE07F9D88}" destId="{49A2C099-09E7-5845-9B71-7892FA5F19FA}" srcOrd="0" destOrd="0" presId="urn:microsoft.com/office/officeart/2005/8/layout/pyramid1"/>
    <dgm:cxn modelId="{5956DCBB-16F7-5D44-958D-C05DEB8C222C}" srcId="{E63B5B2B-F6A6-8441-A576-D26F920DC37F}" destId="{9070CC88-EB24-E342-9919-2FCA608334E5}" srcOrd="4" destOrd="0" parTransId="{30E0EEE2-ED8D-344C-BEF1-43872E0C324F}" sibTransId="{2ECC5143-3180-3C4B-811C-998BB359243F}"/>
    <dgm:cxn modelId="{48C3A3BC-42BB-574B-B352-676F1D08287C}" srcId="{E63B5B2B-F6A6-8441-A576-D26F920DC37F}" destId="{13EE726E-487B-BC42-956A-027D42CABA5C}" srcOrd="3" destOrd="0" parTransId="{64E3511B-7E49-764F-99C6-260A3CE823FF}" sibTransId="{730F1F49-C290-164E-95BF-400B875FFE30}"/>
    <dgm:cxn modelId="{B4DDD9BE-ED5A-4D4F-BF54-A31679B56A41}" type="presOf" srcId="{487C6DDB-16EA-8048-89A6-EBE7F5139E87}" destId="{F18AD3D4-3EBF-6740-A7F5-A34CCB8DAF75}" srcOrd="0" destOrd="0" presId="urn:microsoft.com/office/officeart/2005/8/layout/pyramid1"/>
    <dgm:cxn modelId="{9756B3CB-DC13-5349-BF0E-B7F1AF44FF53}" type="presOf" srcId="{17F7B346-7E44-884B-B208-34553535058F}" destId="{DBA6EBB8-21A0-894A-BA2E-6E7C6406075C}" srcOrd="1" destOrd="0" presId="urn:microsoft.com/office/officeart/2005/8/layout/pyramid1"/>
    <dgm:cxn modelId="{545827D1-534E-8944-81FA-18BF15D762F1}" type="presOf" srcId="{E63B5B2B-F6A6-8441-A576-D26F920DC37F}" destId="{6ECD5B3B-9384-5444-8A5D-3417A6E94D0F}" srcOrd="0" destOrd="0" presId="urn:microsoft.com/office/officeart/2005/8/layout/pyramid1"/>
    <dgm:cxn modelId="{FE5729D9-B480-4043-AF2B-FAAE076BAE54}" srcId="{E63B5B2B-F6A6-8441-A576-D26F920DC37F}" destId="{487C6DDB-16EA-8048-89A6-EBE7F5139E87}" srcOrd="0" destOrd="0" parTransId="{F4C6CB43-A4A1-B344-B75F-5C507D5AB346}" sibTransId="{B187C270-F206-EB47-969D-F237983DA29B}"/>
    <dgm:cxn modelId="{F4BD41E2-66AF-FD41-B3E4-D1D9BA0E0489}" srcId="{E63B5B2B-F6A6-8441-A576-D26F920DC37F}" destId="{7B85411E-E25C-6F42-91E4-53D6A772A7AE}" srcOrd="1" destOrd="0" parTransId="{1F49EEF7-00DB-F24E-ABA1-76F8D1DAA17B}" sibTransId="{7E267195-F0D2-F446-B54C-EC6424F5757D}"/>
    <dgm:cxn modelId="{943B753D-8CC2-FE4C-BA32-85C08B2DB20D}" type="presParOf" srcId="{6ECD5B3B-9384-5444-8A5D-3417A6E94D0F}" destId="{4C6A5A9E-52EB-664C-8E84-0B6237493D5E}" srcOrd="0" destOrd="0" presId="urn:microsoft.com/office/officeart/2005/8/layout/pyramid1"/>
    <dgm:cxn modelId="{E7DC9BE4-E765-1944-8BF7-D9603623CE62}" type="presParOf" srcId="{4C6A5A9E-52EB-664C-8E84-0B6237493D5E}" destId="{F18AD3D4-3EBF-6740-A7F5-A34CCB8DAF75}" srcOrd="0" destOrd="0" presId="urn:microsoft.com/office/officeart/2005/8/layout/pyramid1"/>
    <dgm:cxn modelId="{91562870-9BE7-6C47-BC4D-6695CA6E0FB1}" type="presParOf" srcId="{4C6A5A9E-52EB-664C-8E84-0B6237493D5E}" destId="{6C68EA97-559F-5B4C-BAEF-7523CDE8859F}" srcOrd="1" destOrd="0" presId="urn:microsoft.com/office/officeart/2005/8/layout/pyramid1"/>
    <dgm:cxn modelId="{14AC3ABF-0EF8-A34E-BF12-FE2D73AF3607}" type="presParOf" srcId="{6ECD5B3B-9384-5444-8A5D-3417A6E94D0F}" destId="{7D8399FB-5995-A348-BEB7-AC598E062549}" srcOrd="1" destOrd="0" presId="urn:microsoft.com/office/officeart/2005/8/layout/pyramid1"/>
    <dgm:cxn modelId="{DAD0D453-1C1A-A346-8187-4C36DF6EAA64}" type="presParOf" srcId="{7D8399FB-5995-A348-BEB7-AC598E062549}" destId="{E4AD5763-DCE8-8646-9423-0796D183EB64}" srcOrd="0" destOrd="0" presId="urn:microsoft.com/office/officeart/2005/8/layout/pyramid1"/>
    <dgm:cxn modelId="{7F7FAF88-3B4B-A647-8485-574330972E2D}" type="presParOf" srcId="{7D8399FB-5995-A348-BEB7-AC598E062549}" destId="{AC8E9D14-6819-8F4A-9C5D-059395C22341}" srcOrd="1" destOrd="0" presId="urn:microsoft.com/office/officeart/2005/8/layout/pyramid1"/>
    <dgm:cxn modelId="{4F64D8AB-F4FC-194B-94B8-5200E6F43C6D}" type="presParOf" srcId="{6ECD5B3B-9384-5444-8A5D-3417A6E94D0F}" destId="{9E4AA830-91D0-0541-A272-2817ECCF0C25}" srcOrd="2" destOrd="0" presId="urn:microsoft.com/office/officeart/2005/8/layout/pyramid1"/>
    <dgm:cxn modelId="{8D7B6460-E088-0945-94B0-878A3CC9306A}" type="presParOf" srcId="{9E4AA830-91D0-0541-A272-2817ECCF0C25}" destId="{49A2C099-09E7-5845-9B71-7892FA5F19FA}" srcOrd="0" destOrd="0" presId="urn:microsoft.com/office/officeart/2005/8/layout/pyramid1"/>
    <dgm:cxn modelId="{4F5468FF-4D9F-7C43-86A2-A8208995528D}" type="presParOf" srcId="{9E4AA830-91D0-0541-A272-2817ECCF0C25}" destId="{3E34D7F9-55F3-AE4B-82A2-173B2B147DA6}" srcOrd="1" destOrd="0" presId="urn:microsoft.com/office/officeart/2005/8/layout/pyramid1"/>
    <dgm:cxn modelId="{CB3B1B2B-BB34-1148-9A98-65EFEC96659D}" type="presParOf" srcId="{6ECD5B3B-9384-5444-8A5D-3417A6E94D0F}" destId="{3F559EEF-40ED-164D-BA25-7684CFE7966F}" srcOrd="3" destOrd="0" presId="urn:microsoft.com/office/officeart/2005/8/layout/pyramid1"/>
    <dgm:cxn modelId="{EF954714-1FAC-C241-B45F-86FAE407EAD9}" type="presParOf" srcId="{3F559EEF-40ED-164D-BA25-7684CFE7966F}" destId="{10773469-3A0F-944C-A64E-5813C95065EA}" srcOrd="0" destOrd="0" presId="urn:microsoft.com/office/officeart/2005/8/layout/pyramid1"/>
    <dgm:cxn modelId="{9B72028D-01D0-0846-9E79-6A3FB14C4FB4}" type="presParOf" srcId="{3F559EEF-40ED-164D-BA25-7684CFE7966F}" destId="{FA4DB1DE-A406-3B45-877A-D855E498BDD6}" srcOrd="1" destOrd="0" presId="urn:microsoft.com/office/officeart/2005/8/layout/pyramid1"/>
    <dgm:cxn modelId="{EF11517F-4384-3248-859D-B7716DD2CEB0}" type="presParOf" srcId="{6ECD5B3B-9384-5444-8A5D-3417A6E94D0F}" destId="{6751D3CF-4B1F-6745-90AB-D68983DE85B9}" srcOrd="4" destOrd="0" presId="urn:microsoft.com/office/officeart/2005/8/layout/pyramid1"/>
    <dgm:cxn modelId="{24E7CCE3-6A8A-7245-9595-DB9FEAAE39E0}" type="presParOf" srcId="{6751D3CF-4B1F-6745-90AB-D68983DE85B9}" destId="{7D0C00B8-FBB5-E542-BB8C-D7C0963864DD}" srcOrd="0" destOrd="0" presId="urn:microsoft.com/office/officeart/2005/8/layout/pyramid1"/>
    <dgm:cxn modelId="{2B71CFC6-2B33-A24A-A633-34BF1768A2BC}" type="presParOf" srcId="{6751D3CF-4B1F-6745-90AB-D68983DE85B9}" destId="{7F1E56D0-FCE2-0E43-AE50-B92A1C2A4023}" srcOrd="1" destOrd="0" presId="urn:microsoft.com/office/officeart/2005/8/layout/pyramid1"/>
    <dgm:cxn modelId="{E209C192-614A-BC44-841B-9073B331322C}" type="presParOf" srcId="{6ECD5B3B-9384-5444-8A5D-3417A6E94D0F}" destId="{D8AD44FA-A843-7B4C-B095-72629FE63ABF}" srcOrd="5" destOrd="0" presId="urn:microsoft.com/office/officeart/2005/8/layout/pyramid1"/>
    <dgm:cxn modelId="{8BC4D18C-216B-C841-8ADA-329013A0C6B9}" type="presParOf" srcId="{D8AD44FA-A843-7B4C-B095-72629FE63ABF}" destId="{E0640EEF-CCD0-A143-B7C0-98B8459BB784}" srcOrd="0" destOrd="0" presId="urn:microsoft.com/office/officeart/2005/8/layout/pyramid1"/>
    <dgm:cxn modelId="{A56B9947-26B6-BA49-8577-D0F6B194466A}" type="presParOf" srcId="{D8AD44FA-A843-7B4C-B095-72629FE63ABF}" destId="{DBA6EBB8-21A0-894A-BA2E-6E7C6406075C}" srcOrd="1" destOrd="0" presId="urn:microsoft.com/office/officeart/2005/8/layout/pyramid1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63B5B2B-F6A6-8441-A576-D26F920DC37F}" type="doc">
      <dgm:prSet loTypeId="urn:microsoft.com/office/officeart/2005/8/layout/pyramid1" loCatId="" qsTypeId="urn:microsoft.com/office/officeart/2005/8/quickstyle/simple4" qsCatId="simple" csTypeId="urn:microsoft.com/office/officeart/2005/8/colors/colorful3" csCatId="colorful" phldr="1"/>
      <dgm:spPr/>
    </dgm:pt>
    <dgm:pt modelId="{7B85411E-E25C-6F42-91E4-53D6A772A7AE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US" sz="1200" dirty="0"/>
            <a:t>Reduction</a:t>
          </a:r>
        </a:p>
      </dgm:t>
    </dgm:pt>
    <dgm:pt modelId="{1F49EEF7-00DB-F24E-ABA1-76F8D1DAA17B}" type="parTrans" cxnId="{F4BD41E2-66AF-FD41-B3E4-D1D9BA0E0489}">
      <dgm:prSet/>
      <dgm:spPr/>
      <dgm:t>
        <a:bodyPr/>
        <a:lstStyle/>
        <a:p>
          <a:endParaRPr lang="en-US" sz="1200"/>
        </a:p>
      </dgm:t>
    </dgm:pt>
    <dgm:pt modelId="{7E267195-F0D2-F446-B54C-EC6424F5757D}" type="sibTrans" cxnId="{F4BD41E2-66AF-FD41-B3E4-D1D9BA0E0489}">
      <dgm:prSet/>
      <dgm:spPr/>
      <dgm:t>
        <a:bodyPr/>
        <a:lstStyle/>
        <a:p>
          <a:endParaRPr lang="en-US" sz="1200"/>
        </a:p>
      </dgm:t>
    </dgm:pt>
    <dgm:pt modelId="{761DA577-FE2E-1D4B-90D0-641EE07F9D88}">
      <dgm:prSet phldrT="[Text]" custT="1"/>
      <dgm:spPr>
        <a:solidFill>
          <a:srgbClr val="FFFF00"/>
        </a:solidFill>
      </dgm:spPr>
      <dgm:t>
        <a:bodyPr/>
        <a:lstStyle/>
        <a:p>
          <a:r>
            <a:rPr lang="en-US" sz="1200" dirty="0"/>
            <a:t>Reuse</a:t>
          </a:r>
        </a:p>
      </dgm:t>
    </dgm:pt>
    <dgm:pt modelId="{233C13BD-E584-CC4A-841F-18ABEF05A60D}" type="parTrans" cxnId="{E81B47A4-8275-714F-AAE4-11DDDFB37008}">
      <dgm:prSet/>
      <dgm:spPr/>
      <dgm:t>
        <a:bodyPr/>
        <a:lstStyle/>
        <a:p>
          <a:endParaRPr lang="en-US" sz="1200"/>
        </a:p>
      </dgm:t>
    </dgm:pt>
    <dgm:pt modelId="{EE783346-9836-534D-84F2-4BD295C9BE78}" type="sibTrans" cxnId="{E81B47A4-8275-714F-AAE4-11DDDFB37008}">
      <dgm:prSet/>
      <dgm:spPr/>
      <dgm:t>
        <a:bodyPr/>
        <a:lstStyle/>
        <a:p>
          <a:endParaRPr lang="en-US" sz="1200"/>
        </a:p>
      </dgm:t>
    </dgm:pt>
    <dgm:pt modelId="{13EE726E-487B-BC42-956A-027D42CABA5C}">
      <dgm:prSet phldrT="[Text]" custT="1"/>
      <dgm:spPr>
        <a:solidFill>
          <a:srgbClr val="FFC000"/>
        </a:solidFill>
      </dgm:spPr>
      <dgm:t>
        <a:bodyPr/>
        <a:lstStyle/>
        <a:p>
          <a:r>
            <a:rPr lang="en-US" sz="1200"/>
            <a:t>Recycling</a:t>
          </a:r>
          <a:endParaRPr lang="en-US" sz="1200" dirty="0"/>
        </a:p>
      </dgm:t>
    </dgm:pt>
    <dgm:pt modelId="{64E3511B-7E49-764F-99C6-260A3CE823FF}" type="parTrans" cxnId="{48C3A3BC-42BB-574B-B352-676F1D08287C}">
      <dgm:prSet/>
      <dgm:spPr/>
      <dgm:t>
        <a:bodyPr/>
        <a:lstStyle/>
        <a:p>
          <a:endParaRPr lang="en-US" sz="1200"/>
        </a:p>
      </dgm:t>
    </dgm:pt>
    <dgm:pt modelId="{730F1F49-C290-164E-95BF-400B875FFE30}" type="sibTrans" cxnId="{48C3A3BC-42BB-574B-B352-676F1D08287C}">
      <dgm:prSet/>
      <dgm:spPr/>
      <dgm:t>
        <a:bodyPr/>
        <a:lstStyle/>
        <a:p>
          <a:endParaRPr lang="en-US" sz="1200"/>
        </a:p>
      </dgm:t>
    </dgm:pt>
    <dgm:pt modelId="{9070CC88-EB24-E342-9919-2FCA608334E5}">
      <dgm:prSet phldrT="[Text]" custT="1"/>
      <dgm:spPr>
        <a:solidFill>
          <a:srgbClr val="FF0000"/>
        </a:solidFill>
      </dgm:spPr>
      <dgm:t>
        <a:bodyPr/>
        <a:lstStyle/>
        <a:p>
          <a:r>
            <a:rPr lang="en-US" sz="1200" dirty="0"/>
            <a:t>Energy recovery</a:t>
          </a:r>
        </a:p>
      </dgm:t>
    </dgm:pt>
    <dgm:pt modelId="{30E0EEE2-ED8D-344C-BEF1-43872E0C324F}" type="parTrans" cxnId="{5956DCBB-16F7-5D44-958D-C05DEB8C222C}">
      <dgm:prSet/>
      <dgm:spPr/>
      <dgm:t>
        <a:bodyPr/>
        <a:lstStyle/>
        <a:p>
          <a:endParaRPr lang="en-US" sz="1200"/>
        </a:p>
      </dgm:t>
    </dgm:pt>
    <dgm:pt modelId="{2ECC5143-3180-3C4B-811C-998BB359243F}" type="sibTrans" cxnId="{5956DCBB-16F7-5D44-958D-C05DEB8C222C}">
      <dgm:prSet/>
      <dgm:spPr/>
      <dgm:t>
        <a:bodyPr/>
        <a:lstStyle/>
        <a:p>
          <a:endParaRPr lang="en-US" sz="1200"/>
        </a:p>
      </dgm:t>
    </dgm:pt>
    <dgm:pt modelId="{17F7B346-7E44-884B-B208-34553535058F}">
      <dgm:prSet phldrT="[Text]" custT="1"/>
      <dgm:spPr>
        <a:solidFill>
          <a:srgbClr val="C00000"/>
        </a:solidFill>
      </dgm:spPr>
      <dgm:t>
        <a:bodyPr/>
        <a:lstStyle/>
        <a:p>
          <a:r>
            <a:rPr lang="en-US" sz="1200" dirty="0"/>
            <a:t>Disposal</a:t>
          </a:r>
        </a:p>
      </dgm:t>
    </dgm:pt>
    <dgm:pt modelId="{AE3C9A01-2803-544D-9237-2EC60AD9C246}" type="parTrans" cxnId="{70E05AA2-8852-724A-AC88-971615452AC0}">
      <dgm:prSet/>
      <dgm:spPr/>
      <dgm:t>
        <a:bodyPr/>
        <a:lstStyle/>
        <a:p>
          <a:endParaRPr lang="en-US" sz="1200"/>
        </a:p>
      </dgm:t>
    </dgm:pt>
    <dgm:pt modelId="{E9E48421-DF2E-E243-AFA0-DCCF2D7A210A}" type="sibTrans" cxnId="{70E05AA2-8852-724A-AC88-971615452AC0}">
      <dgm:prSet/>
      <dgm:spPr/>
      <dgm:t>
        <a:bodyPr/>
        <a:lstStyle/>
        <a:p>
          <a:endParaRPr lang="en-US" sz="1200"/>
        </a:p>
      </dgm:t>
    </dgm:pt>
    <dgm:pt modelId="{487C6DDB-16EA-8048-89A6-EBE7F5139E87}">
      <dgm:prSet phldrT="[Text]" custT="1"/>
      <dgm:spPr>
        <a:solidFill>
          <a:schemeClr val="accent6"/>
        </a:solidFill>
      </dgm:spPr>
      <dgm:t>
        <a:bodyPr/>
        <a:lstStyle/>
        <a:p>
          <a:endParaRPr lang="en-US" sz="1200" dirty="0"/>
        </a:p>
      </dgm:t>
    </dgm:pt>
    <dgm:pt modelId="{B187C270-F206-EB47-969D-F237983DA29B}" type="sibTrans" cxnId="{FE5729D9-B480-4043-AF2B-FAAE076BAE54}">
      <dgm:prSet/>
      <dgm:spPr/>
      <dgm:t>
        <a:bodyPr/>
        <a:lstStyle/>
        <a:p>
          <a:endParaRPr lang="en-US" sz="1200"/>
        </a:p>
      </dgm:t>
    </dgm:pt>
    <dgm:pt modelId="{F4C6CB43-A4A1-B344-B75F-5C507D5AB346}" type="parTrans" cxnId="{FE5729D9-B480-4043-AF2B-FAAE076BAE54}">
      <dgm:prSet/>
      <dgm:spPr/>
      <dgm:t>
        <a:bodyPr/>
        <a:lstStyle/>
        <a:p>
          <a:endParaRPr lang="en-US" sz="1200"/>
        </a:p>
      </dgm:t>
    </dgm:pt>
    <dgm:pt modelId="{6ECD5B3B-9384-5444-8A5D-3417A6E94D0F}" type="pres">
      <dgm:prSet presAssocID="{E63B5B2B-F6A6-8441-A576-D26F920DC37F}" presName="Name0" presStyleCnt="0">
        <dgm:presLayoutVars>
          <dgm:dir/>
          <dgm:animLvl val="lvl"/>
          <dgm:resizeHandles val="exact"/>
        </dgm:presLayoutVars>
      </dgm:prSet>
      <dgm:spPr/>
    </dgm:pt>
    <dgm:pt modelId="{4C6A5A9E-52EB-664C-8E84-0B6237493D5E}" type="pres">
      <dgm:prSet presAssocID="{487C6DDB-16EA-8048-89A6-EBE7F5139E87}" presName="Name8" presStyleCnt="0"/>
      <dgm:spPr/>
    </dgm:pt>
    <dgm:pt modelId="{F18AD3D4-3EBF-6740-A7F5-A34CCB8DAF75}" type="pres">
      <dgm:prSet presAssocID="{487C6DDB-16EA-8048-89A6-EBE7F5139E87}" presName="level" presStyleLbl="node1" presStyleIdx="0" presStyleCnt="6" custLinFactNeighborY="0">
        <dgm:presLayoutVars>
          <dgm:chMax val="1"/>
          <dgm:bulletEnabled val="1"/>
        </dgm:presLayoutVars>
      </dgm:prSet>
      <dgm:spPr/>
    </dgm:pt>
    <dgm:pt modelId="{6C68EA97-559F-5B4C-BAEF-7523CDE8859F}" type="pres">
      <dgm:prSet presAssocID="{487C6DDB-16EA-8048-89A6-EBE7F5139E8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D8399FB-5995-A348-BEB7-AC598E062549}" type="pres">
      <dgm:prSet presAssocID="{7B85411E-E25C-6F42-91E4-53D6A772A7AE}" presName="Name8" presStyleCnt="0"/>
      <dgm:spPr/>
    </dgm:pt>
    <dgm:pt modelId="{E4AD5763-DCE8-8646-9423-0796D183EB64}" type="pres">
      <dgm:prSet presAssocID="{7B85411E-E25C-6F42-91E4-53D6A772A7AE}" presName="level" presStyleLbl="node1" presStyleIdx="1" presStyleCnt="6">
        <dgm:presLayoutVars>
          <dgm:chMax val="1"/>
          <dgm:bulletEnabled val="1"/>
        </dgm:presLayoutVars>
      </dgm:prSet>
      <dgm:spPr/>
    </dgm:pt>
    <dgm:pt modelId="{AC8E9D14-6819-8F4A-9C5D-059395C22341}" type="pres">
      <dgm:prSet presAssocID="{7B85411E-E25C-6F42-91E4-53D6A772A7AE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9E4AA830-91D0-0541-A272-2817ECCF0C25}" type="pres">
      <dgm:prSet presAssocID="{761DA577-FE2E-1D4B-90D0-641EE07F9D88}" presName="Name8" presStyleCnt="0"/>
      <dgm:spPr/>
    </dgm:pt>
    <dgm:pt modelId="{49A2C099-09E7-5845-9B71-7892FA5F19FA}" type="pres">
      <dgm:prSet presAssocID="{761DA577-FE2E-1D4B-90D0-641EE07F9D88}" presName="level" presStyleLbl="node1" presStyleIdx="2" presStyleCnt="6">
        <dgm:presLayoutVars>
          <dgm:chMax val="1"/>
          <dgm:bulletEnabled val="1"/>
        </dgm:presLayoutVars>
      </dgm:prSet>
      <dgm:spPr/>
    </dgm:pt>
    <dgm:pt modelId="{3E34D7F9-55F3-AE4B-82A2-173B2B147DA6}" type="pres">
      <dgm:prSet presAssocID="{761DA577-FE2E-1D4B-90D0-641EE07F9D8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3F559EEF-40ED-164D-BA25-7684CFE7966F}" type="pres">
      <dgm:prSet presAssocID="{13EE726E-487B-BC42-956A-027D42CABA5C}" presName="Name8" presStyleCnt="0"/>
      <dgm:spPr/>
    </dgm:pt>
    <dgm:pt modelId="{10773469-3A0F-944C-A64E-5813C95065EA}" type="pres">
      <dgm:prSet presAssocID="{13EE726E-487B-BC42-956A-027D42CABA5C}" presName="level" presStyleLbl="node1" presStyleIdx="3" presStyleCnt="6">
        <dgm:presLayoutVars>
          <dgm:chMax val="1"/>
          <dgm:bulletEnabled val="1"/>
        </dgm:presLayoutVars>
      </dgm:prSet>
      <dgm:spPr/>
    </dgm:pt>
    <dgm:pt modelId="{FA4DB1DE-A406-3B45-877A-D855E498BDD6}" type="pres">
      <dgm:prSet presAssocID="{13EE726E-487B-BC42-956A-027D42CABA5C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751D3CF-4B1F-6745-90AB-D68983DE85B9}" type="pres">
      <dgm:prSet presAssocID="{9070CC88-EB24-E342-9919-2FCA608334E5}" presName="Name8" presStyleCnt="0"/>
      <dgm:spPr/>
    </dgm:pt>
    <dgm:pt modelId="{7D0C00B8-FBB5-E542-BB8C-D7C0963864DD}" type="pres">
      <dgm:prSet presAssocID="{9070CC88-EB24-E342-9919-2FCA608334E5}" presName="level" presStyleLbl="node1" presStyleIdx="4" presStyleCnt="6">
        <dgm:presLayoutVars>
          <dgm:chMax val="1"/>
          <dgm:bulletEnabled val="1"/>
        </dgm:presLayoutVars>
      </dgm:prSet>
      <dgm:spPr/>
    </dgm:pt>
    <dgm:pt modelId="{7F1E56D0-FCE2-0E43-AE50-B92A1C2A4023}" type="pres">
      <dgm:prSet presAssocID="{9070CC88-EB24-E342-9919-2FCA608334E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8AD44FA-A843-7B4C-B095-72629FE63ABF}" type="pres">
      <dgm:prSet presAssocID="{17F7B346-7E44-884B-B208-34553535058F}" presName="Name8" presStyleCnt="0"/>
      <dgm:spPr/>
    </dgm:pt>
    <dgm:pt modelId="{E0640EEF-CCD0-A143-B7C0-98B8459BB784}" type="pres">
      <dgm:prSet presAssocID="{17F7B346-7E44-884B-B208-34553535058F}" presName="level" presStyleLbl="node1" presStyleIdx="5" presStyleCnt="6">
        <dgm:presLayoutVars>
          <dgm:chMax val="1"/>
          <dgm:bulletEnabled val="1"/>
        </dgm:presLayoutVars>
      </dgm:prSet>
      <dgm:spPr/>
    </dgm:pt>
    <dgm:pt modelId="{DBA6EBB8-21A0-894A-BA2E-6E7C6406075C}" type="pres">
      <dgm:prSet presAssocID="{17F7B346-7E44-884B-B208-34553535058F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D256FA1F-3155-6149-9200-843C7A0C4C1E}" type="presOf" srcId="{487C6DDB-16EA-8048-89A6-EBE7F5139E87}" destId="{6C68EA97-559F-5B4C-BAEF-7523CDE8859F}" srcOrd="1" destOrd="0" presId="urn:microsoft.com/office/officeart/2005/8/layout/pyramid1"/>
    <dgm:cxn modelId="{CF21072C-575D-2F4E-93E4-CEDCCDBF386D}" type="presOf" srcId="{17F7B346-7E44-884B-B208-34553535058F}" destId="{E0640EEF-CCD0-A143-B7C0-98B8459BB784}" srcOrd="0" destOrd="0" presId="urn:microsoft.com/office/officeart/2005/8/layout/pyramid1"/>
    <dgm:cxn modelId="{46D4912C-7830-9547-AEDF-D900520E6F1A}" type="presOf" srcId="{13EE726E-487B-BC42-956A-027D42CABA5C}" destId="{FA4DB1DE-A406-3B45-877A-D855E498BDD6}" srcOrd="1" destOrd="0" presId="urn:microsoft.com/office/officeart/2005/8/layout/pyramid1"/>
    <dgm:cxn modelId="{4178185E-9538-0547-98BD-A530CB2F1DAC}" type="presOf" srcId="{13EE726E-487B-BC42-956A-027D42CABA5C}" destId="{10773469-3A0F-944C-A64E-5813C95065EA}" srcOrd="0" destOrd="0" presId="urn:microsoft.com/office/officeart/2005/8/layout/pyramid1"/>
    <dgm:cxn modelId="{9D33C196-5164-CC4F-B1E8-87B97FE06648}" type="presOf" srcId="{E63B5B2B-F6A6-8441-A576-D26F920DC37F}" destId="{6ECD5B3B-9384-5444-8A5D-3417A6E94D0F}" srcOrd="0" destOrd="0" presId="urn:microsoft.com/office/officeart/2005/8/layout/pyramid1"/>
    <dgm:cxn modelId="{CC249697-8844-2B42-88A9-22A59EC37AA4}" type="presOf" srcId="{7B85411E-E25C-6F42-91E4-53D6A772A7AE}" destId="{AC8E9D14-6819-8F4A-9C5D-059395C22341}" srcOrd="1" destOrd="0" presId="urn:microsoft.com/office/officeart/2005/8/layout/pyramid1"/>
    <dgm:cxn modelId="{70E05AA2-8852-724A-AC88-971615452AC0}" srcId="{E63B5B2B-F6A6-8441-A576-D26F920DC37F}" destId="{17F7B346-7E44-884B-B208-34553535058F}" srcOrd="5" destOrd="0" parTransId="{AE3C9A01-2803-544D-9237-2EC60AD9C246}" sibTransId="{E9E48421-DF2E-E243-AFA0-DCCF2D7A210A}"/>
    <dgm:cxn modelId="{E81B47A4-8275-714F-AAE4-11DDDFB37008}" srcId="{E63B5B2B-F6A6-8441-A576-D26F920DC37F}" destId="{761DA577-FE2E-1D4B-90D0-641EE07F9D88}" srcOrd="2" destOrd="0" parTransId="{233C13BD-E584-CC4A-841F-18ABEF05A60D}" sibTransId="{EE783346-9836-534D-84F2-4BD295C9BE78}"/>
    <dgm:cxn modelId="{394BB1A5-A348-6741-B1D1-1511E3546EEE}" type="presOf" srcId="{17F7B346-7E44-884B-B208-34553535058F}" destId="{DBA6EBB8-21A0-894A-BA2E-6E7C6406075C}" srcOrd="1" destOrd="0" presId="urn:microsoft.com/office/officeart/2005/8/layout/pyramid1"/>
    <dgm:cxn modelId="{48E423AD-18E3-5449-9DDC-353EF8464CCD}" type="presOf" srcId="{761DA577-FE2E-1D4B-90D0-641EE07F9D88}" destId="{49A2C099-09E7-5845-9B71-7892FA5F19FA}" srcOrd="0" destOrd="0" presId="urn:microsoft.com/office/officeart/2005/8/layout/pyramid1"/>
    <dgm:cxn modelId="{07103FB3-B31A-4949-B1AE-90FA3DB140AF}" type="presOf" srcId="{9070CC88-EB24-E342-9919-2FCA608334E5}" destId="{7D0C00B8-FBB5-E542-BB8C-D7C0963864DD}" srcOrd="0" destOrd="0" presId="urn:microsoft.com/office/officeart/2005/8/layout/pyramid1"/>
    <dgm:cxn modelId="{40220FB7-89F5-F447-AFAC-4208393A193C}" type="presOf" srcId="{761DA577-FE2E-1D4B-90D0-641EE07F9D88}" destId="{3E34D7F9-55F3-AE4B-82A2-173B2B147DA6}" srcOrd="1" destOrd="0" presId="urn:microsoft.com/office/officeart/2005/8/layout/pyramid1"/>
    <dgm:cxn modelId="{5956DCBB-16F7-5D44-958D-C05DEB8C222C}" srcId="{E63B5B2B-F6A6-8441-A576-D26F920DC37F}" destId="{9070CC88-EB24-E342-9919-2FCA608334E5}" srcOrd="4" destOrd="0" parTransId="{30E0EEE2-ED8D-344C-BEF1-43872E0C324F}" sibTransId="{2ECC5143-3180-3C4B-811C-998BB359243F}"/>
    <dgm:cxn modelId="{53F322BC-37DA-7D4A-9153-7D7FAE8A4959}" type="presOf" srcId="{487C6DDB-16EA-8048-89A6-EBE7F5139E87}" destId="{F18AD3D4-3EBF-6740-A7F5-A34CCB8DAF75}" srcOrd="0" destOrd="0" presId="urn:microsoft.com/office/officeart/2005/8/layout/pyramid1"/>
    <dgm:cxn modelId="{48C3A3BC-42BB-574B-B352-676F1D08287C}" srcId="{E63B5B2B-F6A6-8441-A576-D26F920DC37F}" destId="{13EE726E-487B-BC42-956A-027D42CABA5C}" srcOrd="3" destOrd="0" parTransId="{64E3511B-7E49-764F-99C6-260A3CE823FF}" sibTransId="{730F1F49-C290-164E-95BF-400B875FFE30}"/>
    <dgm:cxn modelId="{75B68CD2-F4CE-984E-AF23-770AB3E12A04}" type="presOf" srcId="{7B85411E-E25C-6F42-91E4-53D6A772A7AE}" destId="{E4AD5763-DCE8-8646-9423-0796D183EB64}" srcOrd="0" destOrd="0" presId="urn:microsoft.com/office/officeart/2005/8/layout/pyramid1"/>
    <dgm:cxn modelId="{FE5729D9-B480-4043-AF2B-FAAE076BAE54}" srcId="{E63B5B2B-F6A6-8441-A576-D26F920DC37F}" destId="{487C6DDB-16EA-8048-89A6-EBE7F5139E87}" srcOrd="0" destOrd="0" parTransId="{F4C6CB43-A4A1-B344-B75F-5C507D5AB346}" sibTransId="{B187C270-F206-EB47-969D-F237983DA29B}"/>
    <dgm:cxn modelId="{0F38DDDB-4936-6642-B107-CD0B73EB4D34}" type="presOf" srcId="{9070CC88-EB24-E342-9919-2FCA608334E5}" destId="{7F1E56D0-FCE2-0E43-AE50-B92A1C2A4023}" srcOrd="1" destOrd="0" presId="urn:microsoft.com/office/officeart/2005/8/layout/pyramid1"/>
    <dgm:cxn modelId="{F4BD41E2-66AF-FD41-B3E4-D1D9BA0E0489}" srcId="{E63B5B2B-F6A6-8441-A576-D26F920DC37F}" destId="{7B85411E-E25C-6F42-91E4-53D6A772A7AE}" srcOrd="1" destOrd="0" parTransId="{1F49EEF7-00DB-F24E-ABA1-76F8D1DAA17B}" sibTransId="{7E267195-F0D2-F446-B54C-EC6424F5757D}"/>
    <dgm:cxn modelId="{FECBA123-C91B-8B4D-BF4C-FB439FA2C695}" type="presParOf" srcId="{6ECD5B3B-9384-5444-8A5D-3417A6E94D0F}" destId="{4C6A5A9E-52EB-664C-8E84-0B6237493D5E}" srcOrd="0" destOrd="0" presId="urn:microsoft.com/office/officeart/2005/8/layout/pyramid1"/>
    <dgm:cxn modelId="{A0BCF445-F5D1-1B41-9D3D-253CA10CD8EC}" type="presParOf" srcId="{4C6A5A9E-52EB-664C-8E84-0B6237493D5E}" destId="{F18AD3D4-3EBF-6740-A7F5-A34CCB8DAF75}" srcOrd="0" destOrd="0" presId="urn:microsoft.com/office/officeart/2005/8/layout/pyramid1"/>
    <dgm:cxn modelId="{67E35574-273D-7E40-8030-619D24D72EFF}" type="presParOf" srcId="{4C6A5A9E-52EB-664C-8E84-0B6237493D5E}" destId="{6C68EA97-559F-5B4C-BAEF-7523CDE8859F}" srcOrd="1" destOrd="0" presId="urn:microsoft.com/office/officeart/2005/8/layout/pyramid1"/>
    <dgm:cxn modelId="{C4D48264-982B-F94F-905E-93A8BDBDB777}" type="presParOf" srcId="{6ECD5B3B-9384-5444-8A5D-3417A6E94D0F}" destId="{7D8399FB-5995-A348-BEB7-AC598E062549}" srcOrd="1" destOrd="0" presId="urn:microsoft.com/office/officeart/2005/8/layout/pyramid1"/>
    <dgm:cxn modelId="{FEE54F2C-1D91-C147-A432-936938169FC6}" type="presParOf" srcId="{7D8399FB-5995-A348-BEB7-AC598E062549}" destId="{E4AD5763-DCE8-8646-9423-0796D183EB64}" srcOrd="0" destOrd="0" presId="urn:microsoft.com/office/officeart/2005/8/layout/pyramid1"/>
    <dgm:cxn modelId="{6483BC9D-ED3C-F240-BF59-077192B5A631}" type="presParOf" srcId="{7D8399FB-5995-A348-BEB7-AC598E062549}" destId="{AC8E9D14-6819-8F4A-9C5D-059395C22341}" srcOrd="1" destOrd="0" presId="urn:microsoft.com/office/officeart/2005/8/layout/pyramid1"/>
    <dgm:cxn modelId="{0E246D9A-9336-9340-BBFD-C7D726AB2718}" type="presParOf" srcId="{6ECD5B3B-9384-5444-8A5D-3417A6E94D0F}" destId="{9E4AA830-91D0-0541-A272-2817ECCF0C25}" srcOrd="2" destOrd="0" presId="urn:microsoft.com/office/officeart/2005/8/layout/pyramid1"/>
    <dgm:cxn modelId="{C7856B67-25F0-9943-9476-A748DB803868}" type="presParOf" srcId="{9E4AA830-91D0-0541-A272-2817ECCF0C25}" destId="{49A2C099-09E7-5845-9B71-7892FA5F19FA}" srcOrd="0" destOrd="0" presId="urn:microsoft.com/office/officeart/2005/8/layout/pyramid1"/>
    <dgm:cxn modelId="{9D0C15BB-610E-6E4B-AC15-CA023C31375D}" type="presParOf" srcId="{9E4AA830-91D0-0541-A272-2817ECCF0C25}" destId="{3E34D7F9-55F3-AE4B-82A2-173B2B147DA6}" srcOrd="1" destOrd="0" presId="urn:microsoft.com/office/officeart/2005/8/layout/pyramid1"/>
    <dgm:cxn modelId="{039CB13C-FA33-414A-952A-5C5BB0D944CE}" type="presParOf" srcId="{6ECD5B3B-9384-5444-8A5D-3417A6E94D0F}" destId="{3F559EEF-40ED-164D-BA25-7684CFE7966F}" srcOrd="3" destOrd="0" presId="urn:microsoft.com/office/officeart/2005/8/layout/pyramid1"/>
    <dgm:cxn modelId="{C5C9B4C8-0856-2D41-990E-6B86989ECA1A}" type="presParOf" srcId="{3F559EEF-40ED-164D-BA25-7684CFE7966F}" destId="{10773469-3A0F-944C-A64E-5813C95065EA}" srcOrd="0" destOrd="0" presId="urn:microsoft.com/office/officeart/2005/8/layout/pyramid1"/>
    <dgm:cxn modelId="{FAB375E3-A609-7240-98E6-48CE56BBBBD4}" type="presParOf" srcId="{3F559EEF-40ED-164D-BA25-7684CFE7966F}" destId="{FA4DB1DE-A406-3B45-877A-D855E498BDD6}" srcOrd="1" destOrd="0" presId="urn:microsoft.com/office/officeart/2005/8/layout/pyramid1"/>
    <dgm:cxn modelId="{90D54F32-9252-D648-9338-1AFB068038FD}" type="presParOf" srcId="{6ECD5B3B-9384-5444-8A5D-3417A6E94D0F}" destId="{6751D3CF-4B1F-6745-90AB-D68983DE85B9}" srcOrd="4" destOrd="0" presId="urn:microsoft.com/office/officeart/2005/8/layout/pyramid1"/>
    <dgm:cxn modelId="{4777B3F6-D00F-054D-BA89-046D451C66AA}" type="presParOf" srcId="{6751D3CF-4B1F-6745-90AB-D68983DE85B9}" destId="{7D0C00B8-FBB5-E542-BB8C-D7C0963864DD}" srcOrd="0" destOrd="0" presId="urn:microsoft.com/office/officeart/2005/8/layout/pyramid1"/>
    <dgm:cxn modelId="{CCEA2522-52CB-F543-BC4E-25FC3F1C0F70}" type="presParOf" srcId="{6751D3CF-4B1F-6745-90AB-D68983DE85B9}" destId="{7F1E56D0-FCE2-0E43-AE50-B92A1C2A4023}" srcOrd="1" destOrd="0" presId="urn:microsoft.com/office/officeart/2005/8/layout/pyramid1"/>
    <dgm:cxn modelId="{489C8C7A-65A1-A548-8471-CF5535921105}" type="presParOf" srcId="{6ECD5B3B-9384-5444-8A5D-3417A6E94D0F}" destId="{D8AD44FA-A843-7B4C-B095-72629FE63ABF}" srcOrd="5" destOrd="0" presId="urn:microsoft.com/office/officeart/2005/8/layout/pyramid1"/>
    <dgm:cxn modelId="{814440EC-0796-1648-92F5-15EDD6CE0D54}" type="presParOf" srcId="{D8AD44FA-A843-7B4C-B095-72629FE63ABF}" destId="{E0640EEF-CCD0-A143-B7C0-98B8459BB784}" srcOrd="0" destOrd="0" presId="urn:microsoft.com/office/officeart/2005/8/layout/pyramid1"/>
    <dgm:cxn modelId="{EC2BFBA6-342A-5144-96EE-7F0F5746A0FD}" type="presParOf" srcId="{D8AD44FA-A843-7B4C-B095-72629FE63ABF}" destId="{DBA6EBB8-21A0-894A-BA2E-6E7C6406075C}" srcOrd="1" destOrd="0" presId="urn:microsoft.com/office/officeart/2005/8/layout/pyramid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63B5B2B-F6A6-8441-A576-D26F920DC37F}" type="doc">
      <dgm:prSet loTypeId="urn:microsoft.com/office/officeart/2005/8/layout/pyramid1" loCatId="" qsTypeId="urn:microsoft.com/office/officeart/2005/8/quickstyle/simple4" qsCatId="simple" csTypeId="urn:microsoft.com/office/officeart/2005/8/colors/colorful3" csCatId="colorful" phldr="1"/>
      <dgm:spPr/>
    </dgm:pt>
    <dgm:pt modelId="{7B85411E-E25C-6F42-91E4-53D6A772A7AE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US" sz="1200" dirty="0"/>
            <a:t>Reduction</a:t>
          </a:r>
        </a:p>
      </dgm:t>
    </dgm:pt>
    <dgm:pt modelId="{1F49EEF7-00DB-F24E-ABA1-76F8D1DAA17B}" type="parTrans" cxnId="{F4BD41E2-66AF-FD41-B3E4-D1D9BA0E0489}">
      <dgm:prSet/>
      <dgm:spPr/>
      <dgm:t>
        <a:bodyPr/>
        <a:lstStyle/>
        <a:p>
          <a:endParaRPr lang="en-US" sz="1200"/>
        </a:p>
      </dgm:t>
    </dgm:pt>
    <dgm:pt modelId="{7E267195-F0D2-F446-B54C-EC6424F5757D}" type="sibTrans" cxnId="{F4BD41E2-66AF-FD41-B3E4-D1D9BA0E0489}">
      <dgm:prSet/>
      <dgm:spPr/>
      <dgm:t>
        <a:bodyPr/>
        <a:lstStyle/>
        <a:p>
          <a:endParaRPr lang="en-US" sz="1200"/>
        </a:p>
      </dgm:t>
    </dgm:pt>
    <dgm:pt modelId="{761DA577-FE2E-1D4B-90D0-641EE07F9D88}">
      <dgm:prSet phldrT="[Text]" custT="1"/>
      <dgm:spPr>
        <a:solidFill>
          <a:srgbClr val="FFFF00"/>
        </a:solidFill>
      </dgm:spPr>
      <dgm:t>
        <a:bodyPr/>
        <a:lstStyle/>
        <a:p>
          <a:r>
            <a:rPr lang="en-US" sz="1200" dirty="0"/>
            <a:t>Reuse</a:t>
          </a:r>
        </a:p>
      </dgm:t>
    </dgm:pt>
    <dgm:pt modelId="{233C13BD-E584-CC4A-841F-18ABEF05A60D}" type="parTrans" cxnId="{E81B47A4-8275-714F-AAE4-11DDDFB37008}">
      <dgm:prSet/>
      <dgm:spPr/>
      <dgm:t>
        <a:bodyPr/>
        <a:lstStyle/>
        <a:p>
          <a:endParaRPr lang="en-US" sz="1200"/>
        </a:p>
      </dgm:t>
    </dgm:pt>
    <dgm:pt modelId="{EE783346-9836-534D-84F2-4BD295C9BE78}" type="sibTrans" cxnId="{E81B47A4-8275-714F-AAE4-11DDDFB37008}">
      <dgm:prSet/>
      <dgm:spPr/>
      <dgm:t>
        <a:bodyPr/>
        <a:lstStyle/>
        <a:p>
          <a:endParaRPr lang="en-US" sz="1200"/>
        </a:p>
      </dgm:t>
    </dgm:pt>
    <dgm:pt modelId="{13EE726E-487B-BC42-956A-027D42CABA5C}">
      <dgm:prSet phldrT="[Text]" custT="1"/>
      <dgm:spPr>
        <a:solidFill>
          <a:srgbClr val="FFC000"/>
        </a:solidFill>
      </dgm:spPr>
      <dgm:t>
        <a:bodyPr/>
        <a:lstStyle/>
        <a:p>
          <a:r>
            <a:rPr lang="en-US" sz="1200"/>
            <a:t>Recycling</a:t>
          </a:r>
          <a:endParaRPr lang="en-US" sz="1200" dirty="0"/>
        </a:p>
      </dgm:t>
    </dgm:pt>
    <dgm:pt modelId="{64E3511B-7E49-764F-99C6-260A3CE823FF}" type="parTrans" cxnId="{48C3A3BC-42BB-574B-B352-676F1D08287C}">
      <dgm:prSet/>
      <dgm:spPr/>
      <dgm:t>
        <a:bodyPr/>
        <a:lstStyle/>
        <a:p>
          <a:endParaRPr lang="en-US" sz="1200"/>
        </a:p>
      </dgm:t>
    </dgm:pt>
    <dgm:pt modelId="{730F1F49-C290-164E-95BF-400B875FFE30}" type="sibTrans" cxnId="{48C3A3BC-42BB-574B-B352-676F1D08287C}">
      <dgm:prSet/>
      <dgm:spPr/>
      <dgm:t>
        <a:bodyPr/>
        <a:lstStyle/>
        <a:p>
          <a:endParaRPr lang="en-US" sz="1200"/>
        </a:p>
      </dgm:t>
    </dgm:pt>
    <dgm:pt modelId="{9070CC88-EB24-E342-9919-2FCA608334E5}">
      <dgm:prSet phldrT="[Text]" custT="1"/>
      <dgm:spPr>
        <a:solidFill>
          <a:srgbClr val="FF0000"/>
        </a:solidFill>
      </dgm:spPr>
      <dgm:t>
        <a:bodyPr/>
        <a:lstStyle/>
        <a:p>
          <a:r>
            <a:rPr lang="en-US" sz="1200"/>
            <a:t>Energy recovery</a:t>
          </a:r>
          <a:endParaRPr lang="en-US" sz="1200" dirty="0"/>
        </a:p>
      </dgm:t>
    </dgm:pt>
    <dgm:pt modelId="{30E0EEE2-ED8D-344C-BEF1-43872E0C324F}" type="parTrans" cxnId="{5956DCBB-16F7-5D44-958D-C05DEB8C222C}">
      <dgm:prSet/>
      <dgm:spPr/>
      <dgm:t>
        <a:bodyPr/>
        <a:lstStyle/>
        <a:p>
          <a:endParaRPr lang="en-US" sz="1200"/>
        </a:p>
      </dgm:t>
    </dgm:pt>
    <dgm:pt modelId="{2ECC5143-3180-3C4B-811C-998BB359243F}" type="sibTrans" cxnId="{5956DCBB-16F7-5D44-958D-C05DEB8C222C}">
      <dgm:prSet/>
      <dgm:spPr/>
      <dgm:t>
        <a:bodyPr/>
        <a:lstStyle/>
        <a:p>
          <a:endParaRPr lang="en-US" sz="1200"/>
        </a:p>
      </dgm:t>
    </dgm:pt>
    <dgm:pt modelId="{17F7B346-7E44-884B-B208-34553535058F}">
      <dgm:prSet phldrT="[Text]" custT="1"/>
      <dgm:spPr>
        <a:solidFill>
          <a:srgbClr val="C00000"/>
        </a:solidFill>
      </dgm:spPr>
      <dgm:t>
        <a:bodyPr/>
        <a:lstStyle/>
        <a:p>
          <a:r>
            <a:rPr lang="en-US" sz="1200" dirty="0"/>
            <a:t>Disposal</a:t>
          </a:r>
        </a:p>
      </dgm:t>
    </dgm:pt>
    <dgm:pt modelId="{AE3C9A01-2803-544D-9237-2EC60AD9C246}" type="parTrans" cxnId="{70E05AA2-8852-724A-AC88-971615452AC0}">
      <dgm:prSet/>
      <dgm:spPr/>
      <dgm:t>
        <a:bodyPr/>
        <a:lstStyle/>
        <a:p>
          <a:endParaRPr lang="en-US" sz="1200"/>
        </a:p>
      </dgm:t>
    </dgm:pt>
    <dgm:pt modelId="{E9E48421-DF2E-E243-AFA0-DCCF2D7A210A}" type="sibTrans" cxnId="{70E05AA2-8852-724A-AC88-971615452AC0}">
      <dgm:prSet/>
      <dgm:spPr/>
      <dgm:t>
        <a:bodyPr/>
        <a:lstStyle/>
        <a:p>
          <a:endParaRPr lang="en-US" sz="1200"/>
        </a:p>
      </dgm:t>
    </dgm:pt>
    <dgm:pt modelId="{487C6DDB-16EA-8048-89A6-EBE7F5139E87}">
      <dgm:prSet phldrT="[Text]" custT="1"/>
      <dgm:spPr>
        <a:solidFill>
          <a:schemeClr val="accent6"/>
        </a:solidFill>
      </dgm:spPr>
      <dgm:t>
        <a:bodyPr/>
        <a:lstStyle/>
        <a:p>
          <a:endParaRPr lang="en-US" sz="1200" dirty="0"/>
        </a:p>
      </dgm:t>
    </dgm:pt>
    <dgm:pt modelId="{B187C270-F206-EB47-969D-F237983DA29B}" type="sibTrans" cxnId="{FE5729D9-B480-4043-AF2B-FAAE076BAE54}">
      <dgm:prSet/>
      <dgm:spPr/>
      <dgm:t>
        <a:bodyPr/>
        <a:lstStyle/>
        <a:p>
          <a:endParaRPr lang="en-US" sz="1200"/>
        </a:p>
      </dgm:t>
    </dgm:pt>
    <dgm:pt modelId="{F4C6CB43-A4A1-B344-B75F-5C507D5AB346}" type="parTrans" cxnId="{FE5729D9-B480-4043-AF2B-FAAE076BAE54}">
      <dgm:prSet/>
      <dgm:spPr/>
      <dgm:t>
        <a:bodyPr/>
        <a:lstStyle/>
        <a:p>
          <a:endParaRPr lang="en-US" sz="1200"/>
        </a:p>
      </dgm:t>
    </dgm:pt>
    <dgm:pt modelId="{6ECD5B3B-9384-5444-8A5D-3417A6E94D0F}" type="pres">
      <dgm:prSet presAssocID="{E63B5B2B-F6A6-8441-A576-D26F920DC37F}" presName="Name0" presStyleCnt="0">
        <dgm:presLayoutVars>
          <dgm:dir/>
          <dgm:animLvl val="lvl"/>
          <dgm:resizeHandles val="exact"/>
        </dgm:presLayoutVars>
      </dgm:prSet>
      <dgm:spPr/>
    </dgm:pt>
    <dgm:pt modelId="{4C6A5A9E-52EB-664C-8E84-0B6237493D5E}" type="pres">
      <dgm:prSet presAssocID="{487C6DDB-16EA-8048-89A6-EBE7F5139E87}" presName="Name8" presStyleCnt="0"/>
      <dgm:spPr/>
    </dgm:pt>
    <dgm:pt modelId="{F18AD3D4-3EBF-6740-A7F5-A34CCB8DAF75}" type="pres">
      <dgm:prSet presAssocID="{487C6DDB-16EA-8048-89A6-EBE7F5139E87}" presName="level" presStyleLbl="node1" presStyleIdx="0" presStyleCnt="6" custLinFactNeighborY="0">
        <dgm:presLayoutVars>
          <dgm:chMax val="1"/>
          <dgm:bulletEnabled val="1"/>
        </dgm:presLayoutVars>
      </dgm:prSet>
      <dgm:spPr/>
    </dgm:pt>
    <dgm:pt modelId="{6C68EA97-559F-5B4C-BAEF-7523CDE8859F}" type="pres">
      <dgm:prSet presAssocID="{487C6DDB-16EA-8048-89A6-EBE7F5139E8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D8399FB-5995-A348-BEB7-AC598E062549}" type="pres">
      <dgm:prSet presAssocID="{7B85411E-E25C-6F42-91E4-53D6A772A7AE}" presName="Name8" presStyleCnt="0"/>
      <dgm:spPr/>
    </dgm:pt>
    <dgm:pt modelId="{E4AD5763-DCE8-8646-9423-0796D183EB64}" type="pres">
      <dgm:prSet presAssocID="{7B85411E-E25C-6F42-91E4-53D6A772A7AE}" presName="level" presStyleLbl="node1" presStyleIdx="1" presStyleCnt="6">
        <dgm:presLayoutVars>
          <dgm:chMax val="1"/>
          <dgm:bulletEnabled val="1"/>
        </dgm:presLayoutVars>
      </dgm:prSet>
      <dgm:spPr/>
    </dgm:pt>
    <dgm:pt modelId="{AC8E9D14-6819-8F4A-9C5D-059395C22341}" type="pres">
      <dgm:prSet presAssocID="{7B85411E-E25C-6F42-91E4-53D6A772A7AE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9E4AA830-91D0-0541-A272-2817ECCF0C25}" type="pres">
      <dgm:prSet presAssocID="{761DA577-FE2E-1D4B-90D0-641EE07F9D88}" presName="Name8" presStyleCnt="0"/>
      <dgm:spPr/>
    </dgm:pt>
    <dgm:pt modelId="{49A2C099-09E7-5845-9B71-7892FA5F19FA}" type="pres">
      <dgm:prSet presAssocID="{761DA577-FE2E-1D4B-90D0-641EE07F9D88}" presName="level" presStyleLbl="node1" presStyleIdx="2" presStyleCnt="6">
        <dgm:presLayoutVars>
          <dgm:chMax val="1"/>
          <dgm:bulletEnabled val="1"/>
        </dgm:presLayoutVars>
      </dgm:prSet>
      <dgm:spPr/>
    </dgm:pt>
    <dgm:pt modelId="{3E34D7F9-55F3-AE4B-82A2-173B2B147DA6}" type="pres">
      <dgm:prSet presAssocID="{761DA577-FE2E-1D4B-90D0-641EE07F9D8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3F559EEF-40ED-164D-BA25-7684CFE7966F}" type="pres">
      <dgm:prSet presAssocID="{13EE726E-487B-BC42-956A-027D42CABA5C}" presName="Name8" presStyleCnt="0"/>
      <dgm:spPr/>
    </dgm:pt>
    <dgm:pt modelId="{10773469-3A0F-944C-A64E-5813C95065EA}" type="pres">
      <dgm:prSet presAssocID="{13EE726E-487B-BC42-956A-027D42CABA5C}" presName="level" presStyleLbl="node1" presStyleIdx="3" presStyleCnt="6">
        <dgm:presLayoutVars>
          <dgm:chMax val="1"/>
          <dgm:bulletEnabled val="1"/>
        </dgm:presLayoutVars>
      </dgm:prSet>
      <dgm:spPr/>
    </dgm:pt>
    <dgm:pt modelId="{FA4DB1DE-A406-3B45-877A-D855E498BDD6}" type="pres">
      <dgm:prSet presAssocID="{13EE726E-487B-BC42-956A-027D42CABA5C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751D3CF-4B1F-6745-90AB-D68983DE85B9}" type="pres">
      <dgm:prSet presAssocID="{9070CC88-EB24-E342-9919-2FCA608334E5}" presName="Name8" presStyleCnt="0"/>
      <dgm:spPr/>
    </dgm:pt>
    <dgm:pt modelId="{7D0C00B8-FBB5-E542-BB8C-D7C0963864DD}" type="pres">
      <dgm:prSet presAssocID="{9070CC88-EB24-E342-9919-2FCA608334E5}" presName="level" presStyleLbl="node1" presStyleIdx="4" presStyleCnt="6">
        <dgm:presLayoutVars>
          <dgm:chMax val="1"/>
          <dgm:bulletEnabled val="1"/>
        </dgm:presLayoutVars>
      </dgm:prSet>
      <dgm:spPr/>
    </dgm:pt>
    <dgm:pt modelId="{7F1E56D0-FCE2-0E43-AE50-B92A1C2A4023}" type="pres">
      <dgm:prSet presAssocID="{9070CC88-EB24-E342-9919-2FCA608334E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8AD44FA-A843-7B4C-B095-72629FE63ABF}" type="pres">
      <dgm:prSet presAssocID="{17F7B346-7E44-884B-B208-34553535058F}" presName="Name8" presStyleCnt="0"/>
      <dgm:spPr/>
    </dgm:pt>
    <dgm:pt modelId="{E0640EEF-CCD0-A143-B7C0-98B8459BB784}" type="pres">
      <dgm:prSet presAssocID="{17F7B346-7E44-884B-B208-34553535058F}" presName="level" presStyleLbl="node1" presStyleIdx="5" presStyleCnt="6">
        <dgm:presLayoutVars>
          <dgm:chMax val="1"/>
          <dgm:bulletEnabled val="1"/>
        </dgm:presLayoutVars>
      </dgm:prSet>
      <dgm:spPr/>
    </dgm:pt>
    <dgm:pt modelId="{DBA6EBB8-21A0-894A-BA2E-6E7C6406075C}" type="pres">
      <dgm:prSet presAssocID="{17F7B346-7E44-884B-B208-34553535058F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D256FA1F-3155-6149-9200-843C7A0C4C1E}" type="presOf" srcId="{487C6DDB-16EA-8048-89A6-EBE7F5139E87}" destId="{6C68EA97-559F-5B4C-BAEF-7523CDE8859F}" srcOrd="1" destOrd="0" presId="urn:microsoft.com/office/officeart/2005/8/layout/pyramid1"/>
    <dgm:cxn modelId="{CF21072C-575D-2F4E-93E4-CEDCCDBF386D}" type="presOf" srcId="{17F7B346-7E44-884B-B208-34553535058F}" destId="{E0640EEF-CCD0-A143-B7C0-98B8459BB784}" srcOrd="0" destOrd="0" presId="urn:microsoft.com/office/officeart/2005/8/layout/pyramid1"/>
    <dgm:cxn modelId="{46D4912C-7830-9547-AEDF-D900520E6F1A}" type="presOf" srcId="{13EE726E-487B-BC42-956A-027D42CABA5C}" destId="{FA4DB1DE-A406-3B45-877A-D855E498BDD6}" srcOrd="1" destOrd="0" presId="urn:microsoft.com/office/officeart/2005/8/layout/pyramid1"/>
    <dgm:cxn modelId="{4178185E-9538-0547-98BD-A530CB2F1DAC}" type="presOf" srcId="{13EE726E-487B-BC42-956A-027D42CABA5C}" destId="{10773469-3A0F-944C-A64E-5813C95065EA}" srcOrd="0" destOrd="0" presId="urn:microsoft.com/office/officeart/2005/8/layout/pyramid1"/>
    <dgm:cxn modelId="{9D33C196-5164-CC4F-B1E8-87B97FE06648}" type="presOf" srcId="{E63B5B2B-F6A6-8441-A576-D26F920DC37F}" destId="{6ECD5B3B-9384-5444-8A5D-3417A6E94D0F}" srcOrd="0" destOrd="0" presId="urn:microsoft.com/office/officeart/2005/8/layout/pyramid1"/>
    <dgm:cxn modelId="{CC249697-8844-2B42-88A9-22A59EC37AA4}" type="presOf" srcId="{7B85411E-E25C-6F42-91E4-53D6A772A7AE}" destId="{AC8E9D14-6819-8F4A-9C5D-059395C22341}" srcOrd="1" destOrd="0" presId="urn:microsoft.com/office/officeart/2005/8/layout/pyramid1"/>
    <dgm:cxn modelId="{70E05AA2-8852-724A-AC88-971615452AC0}" srcId="{E63B5B2B-F6A6-8441-A576-D26F920DC37F}" destId="{17F7B346-7E44-884B-B208-34553535058F}" srcOrd="5" destOrd="0" parTransId="{AE3C9A01-2803-544D-9237-2EC60AD9C246}" sibTransId="{E9E48421-DF2E-E243-AFA0-DCCF2D7A210A}"/>
    <dgm:cxn modelId="{E81B47A4-8275-714F-AAE4-11DDDFB37008}" srcId="{E63B5B2B-F6A6-8441-A576-D26F920DC37F}" destId="{761DA577-FE2E-1D4B-90D0-641EE07F9D88}" srcOrd="2" destOrd="0" parTransId="{233C13BD-E584-CC4A-841F-18ABEF05A60D}" sibTransId="{EE783346-9836-534D-84F2-4BD295C9BE78}"/>
    <dgm:cxn modelId="{394BB1A5-A348-6741-B1D1-1511E3546EEE}" type="presOf" srcId="{17F7B346-7E44-884B-B208-34553535058F}" destId="{DBA6EBB8-21A0-894A-BA2E-6E7C6406075C}" srcOrd="1" destOrd="0" presId="urn:microsoft.com/office/officeart/2005/8/layout/pyramid1"/>
    <dgm:cxn modelId="{48E423AD-18E3-5449-9DDC-353EF8464CCD}" type="presOf" srcId="{761DA577-FE2E-1D4B-90D0-641EE07F9D88}" destId="{49A2C099-09E7-5845-9B71-7892FA5F19FA}" srcOrd="0" destOrd="0" presId="urn:microsoft.com/office/officeart/2005/8/layout/pyramid1"/>
    <dgm:cxn modelId="{07103FB3-B31A-4949-B1AE-90FA3DB140AF}" type="presOf" srcId="{9070CC88-EB24-E342-9919-2FCA608334E5}" destId="{7D0C00B8-FBB5-E542-BB8C-D7C0963864DD}" srcOrd="0" destOrd="0" presId="urn:microsoft.com/office/officeart/2005/8/layout/pyramid1"/>
    <dgm:cxn modelId="{40220FB7-89F5-F447-AFAC-4208393A193C}" type="presOf" srcId="{761DA577-FE2E-1D4B-90D0-641EE07F9D88}" destId="{3E34D7F9-55F3-AE4B-82A2-173B2B147DA6}" srcOrd="1" destOrd="0" presId="urn:microsoft.com/office/officeart/2005/8/layout/pyramid1"/>
    <dgm:cxn modelId="{5956DCBB-16F7-5D44-958D-C05DEB8C222C}" srcId="{E63B5B2B-F6A6-8441-A576-D26F920DC37F}" destId="{9070CC88-EB24-E342-9919-2FCA608334E5}" srcOrd="4" destOrd="0" parTransId="{30E0EEE2-ED8D-344C-BEF1-43872E0C324F}" sibTransId="{2ECC5143-3180-3C4B-811C-998BB359243F}"/>
    <dgm:cxn modelId="{53F322BC-37DA-7D4A-9153-7D7FAE8A4959}" type="presOf" srcId="{487C6DDB-16EA-8048-89A6-EBE7F5139E87}" destId="{F18AD3D4-3EBF-6740-A7F5-A34CCB8DAF75}" srcOrd="0" destOrd="0" presId="urn:microsoft.com/office/officeart/2005/8/layout/pyramid1"/>
    <dgm:cxn modelId="{48C3A3BC-42BB-574B-B352-676F1D08287C}" srcId="{E63B5B2B-F6A6-8441-A576-D26F920DC37F}" destId="{13EE726E-487B-BC42-956A-027D42CABA5C}" srcOrd="3" destOrd="0" parTransId="{64E3511B-7E49-764F-99C6-260A3CE823FF}" sibTransId="{730F1F49-C290-164E-95BF-400B875FFE30}"/>
    <dgm:cxn modelId="{75B68CD2-F4CE-984E-AF23-770AB3E12A04}" type="presOf" srcId="{7B85411E-E25C-6F42-91E4-53D6A772A7AE}" destId="{E4AD5763-DCE8-8646-9423-0796D183EB64}" srcOrd="0" destOrd="0" presId="urn:microsoft.com/office/officeart/2005/8/layout/pyramid1"/>
    <dgm:cxn modelId="{FE5729D9-B480-4043-AF2B-FAAE076BAE54}" srcId="{E63B5B2B-F6A6-8441-A576-D26F920DC37F}" destId="{487C6DDB-16EA-8048-89A6-EBE7F5139E87}" srcOrd="0" destOrd="0" parTransId="{F4C6CB43-A4A1-B344-B75F-5C507D5AB346}" sibTransId="{B187C270-F206-EB47-969D-F237983DA29B}"/>
    <dgm:cxn modelId="{0F38DDDB-4936-6642-B107-CD0B73EB4D34}" type="presOf" srcId="{9070CC88-EB24-E342-9919-2FCA608334E5}" destId="{7F1E56D0-FCE2-0E43-AE50-B92A1C2A4023}" srcOrd="1" destOrd="0" presId="urn:microsoft.com/office/officeart/2005/8/layout/pyramid1"/>
    <dgm:cxn modelId="{F4BD41E2-66AF-FD41-B3E4-D1D9BA0E0489}" srcId="{E63B5B2B-F6A6-8441-A576-D26F920DC37F}" destId="{7B85411E-E25C-6F42-91E4-53D6A772A7AE}" srcOrd="1" destOrd="0" parTransId="{1F49EEF7-00DB-F24E-ABA1-76F8D1DAA17B}" sibTransId="{7E267195-F0D2-F446-B54C-EC6424F5757D}"/>
    <dgm:cxn modelId="{FECBA123-C91B-8B4D-BF4C-FB439FA2C695}" type="presParOf" srcId="{6ECD5B3B-9384-5444-8A5D-3417A6E94D0F}" destId="{4C6A5A9E-52EB-664C-8E84-0B6237493D5E}" srcOrd="0" destOrd="0" presId="urn:microsoft.com/office/officeart/2005/8/layout/pyramid1"/>
    <dgm:cxn modelId="{A0BCF445-F5D1-1B41-9D3D-253CA10CD8EC}" type="presParOf" srcId="{4C6A5A9E-52EB-664C-8E84-0B6237493D5E}" destId="{F18AD3D4-3EBF-6740-A7F5-A34CCB8DAF75}" srcOrd="0" destOrd="0" presId="urn:microsoft.com/office/officeart/2005/8/layout/pyramid1"/>
    <dgm:cxn modelId="{67E35574-273D-7E40-8030-619D24D72EFF}" type="presParOf" srcId="{4C6A5A9E-52EB-664C-8E84-0B6237493D5E}" destId="{6C68EA97-559F-5B4C-BAEF-7523CDE8859F}" srcOrd="1" destOrd="0" presId="urn:microsoft.com/office/officeart/2005/8/layout/pyramid1"/>
    <dgm:cxn modelId="{C4D48264-982B-F94F-905E-93A8BDBDB777}" type="presParOf" srcId="{6ECD5B3B-9384-5444-8A5D-3417A6E94D0F}" destId="{7D8399FB-5995-A348-BEB7-AC598E062549}" srcOrd="1" destOrd="0" presId="urn:microsoft.com/office/officeart/2005/8/layout/pyramid1"/>
    <dgm:cxn modelId="{FEE54F2C-1D91-C147-A432-936938169FC6}" type="presParOf" srcId="{7D8399FB-5995-A348-BEB7-AC598E062549}" destId="{E4AD5763-DCE8-8646-9423-0796D183EB64}" srcOrd="0" destOrd="0" presId="urn:microsoft.com/office/officeart/2005/8/layout/pyramid1"/>
    <dgm:cxn modelId="{6483BC9D-ED3C-F240-BF59-077192B5A631}" type="presParOf" srcId="{7D8399FB-5995-A348-BEB7-AC598E062549}" destId="{AC8E9D14-6819-8F4A-9C5D-059395C22341}" srcOrd="1" destOrd="0" presId="urn:microsoft.com/office/officeart/2005/8/layout/pyramid1"/>
    <dgm:cxn modelId="{0E246D9A-9336-9340-BBFD-C7D726AB2718}" type="presParOf" srcId="{6ECD5B3B-9384-5444-8A5D-3417A6E94D0F}" destId="{9E4AA830-91D0-0541-A272-2817ECCF0C25}" srcOrd="2" destOrd="0" presId="urn:microsoft.com/office/officeart/2005/8/layout/pyramid1"/>
    <dgm:cxn modelId="{C7856B67-25F0-9943-9476-A748DB803868}" type="presParOf" srcId="{9E4AA830-91D0-0541-A272-2817ECCF0C25}" destId="{49A2C099-09E7-5845-9B71-7892FA5F19FA}" srcOrd="0" destOrd="0" presId="urn:microsoft.com/office/officeart/2005/8/layout/pyramid1"/>
    <dgm:cxn modelId="{9D0C15BB-610E-6E4B-AC15-CA023C31375D}" type="presParOf" srcId="{9E4AA830-91D0-0541-A272-2817ECCF0C25}" destId="{3E34D7F9-55F3-AE4B-82A2-173B2B147DA6}" srcOrd="1" destOrd="0" presId="urn:microsoft.com/office/officeart/2005/8/layout/pyramid1"/>
    <dgm:cxn modelId="{039CB13C-FA33-414A-952A-5C5BB0D944CE}" type="presParOf" srcId="{6ECD5B3B-9384-5444-8A5D-3417A6E94D0F}" destId="{3F559EEF-40ED-164D-BA25-7684CFE7966F}" srcOrd="3" destOrd="0" presId="urn:microsoft.com/office/officeart/2005/8/layout/pyramid1"/>
    <dgm:cxn modelId="{C5C9B4C8-0856-2D41-990E-6B86989ECA1A}" type="presParOf" srcId="{3F559EEF-40ED-164D-BA25-7684CFE7966F}" destId="{10773469-3A0F-944C-A64E-5813C95065EA}" srcOrd="0" destOrd="0" presId="urn:microsoft.com/office/officeart/2005/8/layout/pyramid1"/>
    <dgm:cxn modelId="{FAB375E3-A609-7240-98E6-48CE56BBBBD4}" type="presParOf" srcId="{3F559EEF-40ED-164D-BA25-7684CFE7966F}" destId="{FA4DB1DE-A406-3B45-877A-D855E498BDD6}" srcOrd="1" destOrd="0" presId="urn:microsoft.com/office/officeart/2005/8/layout/pyramid1"/>
    <dgm:cxn modelId="{90D54F32-9252-D648-9338-1AFB068038FD}" type="presParOf" srcId="{6ECD5B3B-9384-5444-8A5D-3417A6E94D0F}" destId="{6751D3CF-4B1F-6745-90AB-D68983DE85B9}" srcOrd="4" destOrd="0" presId="urn:microsoft.com/office/officeart/2005/8/layout/pyramid1"/>
    <dgm:cxn modelId="{4777B3F6-D00F-054D-BA89-046D451C66AA}" type="presParOf" srcId="{6751D3CF-4B1F-6745-90AB-D68983DE85B9}" destId="{7D0C00B8-FBB5-E542-BB8C-D7C0963864DD}" srcOrd="0" destOrd="0" presId="urn:microsoft.com/office/officeart/2005/8/layout/pyramid1"/>
    <dgm:cxn modelId="{CCEA2522-52CB-F543-BC4E-25FC3F1C0F70}" type="presParOf" srcId="{6751D3CF-4B1F-6745-90AB-D68983DE85B9}" destId="{7F1E56D0-FCE2-0E43-AE50-B92A1C2A4023}" srcOrd="1" destOrd="0" presId="urn:microsoft.com/office/officeart/2005/8/layout/pyramid1"/>
    <dgm:cxn modelId="{489C8C7A-65A1-A548-8471-CF5535921105}" type="presParOf" srcId="{6ECD5B3B-9384-5444-8A5D-3417A6E94D0F}" destId="{D8AD44FA-A843-7B4C-B095-72629FE63ABF}" srcOrd="5" destOrd="0" presId="urn:microsoft.com/office/officeart/2005/8/layout/pyramid1"/>
    <dgm:cxn modelId="{814440EC-0796-1648-92F5-15EDD6CE0D54}" type="presParOf" srcId="{D8AD44FA-A843-7B4C-B095-72629FE63ABF}" destId="{E0640EEF-CCD0-A143-B7C0-98B8459BB784}" srcOrd="0" destOrd="0" presId="urn:microsoft.com/office/officeart/2005/8/layout/pyramid1"/>
    <dgm:cxn modelId="{EC2BFBA6-342A-5144-96EE-7F0F5746A0FD}" type="presParOf" srcId="{D8AD44FA-A843-7B4C-B095-72629FE63ABF}" destId="{DBA6EBB8-21A0-894A-BA2E-6E7C6406075C}" srcOrd="1" destOrd="0" presId="urn:microsoft.com/office/officeart/2005/8/layout/pyramid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63B5B2B-F6A6-8441-A576-D26F920DC37F}" type="doc">
      <dgm:prSet loTypeId="urn:microsoft.com/office/officeart/2005/8/layout/pyramid1" loCatId="" qsTypeId="urn:microsoft.com/office/officeart/2005/8/quickstyle/simple4" qsCatId="simple" csTypeId="urn:microsoft.com/office/officeart/2005/8/colors/colorful3" csCatId="colorful" phldr="1"/>
      <dgm:spPr/>
    </dgm:pt>
    <dgm:pt modelId="{7B85411E-E25C-6F42-91E4-53D6A772A7AE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US" sz="1200" dirty="0"/>
            <a:t>Reduction</a:t>
          </a:r>
        </a:p>
      </dgm:t>
    </dgm:pt>
    <dgm:pt modelId="{1F49EEF7-00DB-F24E-ABA1-76F8D1DAA17B}" type="parTrans" cxnId="{F4BD41E2-66AF-FD41-B3E4-D1D9BA0E0489}">
      <dgm:prSet/>
      <dgm:spPr/>
      <dgm:t>
        <a:bodyPr/>
        <a:lstStyle/>
        <a:p>
          <a:endParaRPr lang="en-US" sz="1200"/>
        </a:p>
      </dgm:t>
    </dgm:pt>
    <dgm:pt modelId="{7E267195-F0D2-F446-B54C-EC6424F5757D}" type="sibTrans" cxnId="{F4BD41E2-66AF-FD41-B3E4-D1D9BA0E0489}">
      <dgm:prSet/>
      <dgm:spPr/>
      <dgm:t>
        <a:bodyPr/>
        <a:lstStyle/>
        <a:p>
          <a:endParaRPr lang="en-US" sz="1200"/>
        </a:p>
      </dgm:t>
    </dgm:pt>
    <dgm:pt modelId="{761DA577-FE2E-1D4B-90D0-641EE07F9D88}">
      <dgm:prSet phldrT="[Text]" custT="1"/>
      <dgm:spPr>
        <a:solidFill>
          <a:srgbClr val="FFFF00"/>
        </a:solidFill>
      </dgm:spPr>
      <dgm:t>
        <a:bodyPr/>
        <a:lstStyle/>
        <a:p>
          <a:r>
            <a:rPr lang="en-US" sz="1200" dirty="0"/>
            <a:t>Reuse</a:t>
          </a:r>
        </a:p>
      </dgm:t>
    </dgm:pt>
    <dgm:pt modelId="{233C13BD-E584-CC4A-841F-18ABEF05A60D}" type="parTrans" cxnId="{E81B47A4-8275-714F-AAE4-11DDDFB37008}">
      <dgm:prSet/>
      <dgm:spPr/>
      <dgm:t>
        <a:bodyPr/>
        <a:lstStyle/>
        <a:p>
          <a:endParaRPr lang="en-US" sz="1200"/>
        </a:p>
      </dgm:t>
    </dgm:pt>
    <dgm:pt modelId="{EE783346-9836-534D-84F2-4BD295C9BE78}" type="sibTrans" cxnId="{E81B47A4-8275-714F-AAE4-11DDDFB37008}">
      <dgm:prSet/>
      <dgm:spPr/>
      <dgm:t>
        <a:bodyPr/>
        <a:lstStyle/>
        <a:p>
          <a:endParaRPr lang="en-US" sz="1200"/>
        </a:p>
      </dgm:t>
    </dgm:pt>
    <dgm:pt modelId="{13EE726E-487B-BC42-956A-027D42CABA5C}">
      <dgm:prSet phldrT="[Text]" custT="1"/>
      <dgm:spPr>
        <a:solidFill>
          <a:srgbClr val="FFC000"/>
        </a:solidFill>
      </dgm:spPr>
      <dgm:t>
        <a:bodyPr/>
        <a:lstStyle/>
        <a:p>
          <a:r>
            <a:rPr lang="en-US" sz="1200"/>
            <a:t>Recycling</a:t>
          </a:r>
          <a:endParaRPr lang="en-US" sz="1200" dirty="0"/>
        </a:p>
      </dgm:t>
    </dgm:pt>
    <dgm:pt modelId="{64E3511B-7E49-764F-99C6-260A3CE823FF}" type="parTrans" cxnId="{48C3A3BC-42BB-574B-B352-676F1D08287C}">
      <dgm:prSet/>
      <dgm:spPr/>
      <dgm:t>
        <a:bodyPr/>
        <a:lstStyle/>
        <a:p>
          <a:endParaRPr lang="en-US" sz="1200"/>
        </a:p>
      </dgm:t>
    </dgm:pt>
    <dgm:pt modelId="{730F1F49-C290-164E-95BF-400B875FFE30}" type="sibTrans" cxnId="{48C3A3BC-42BB-574B-B352-676F1D08287C}">
      <dgm:prSet/>
      <dgm:spPr/>
      <dgm:t>
        <a:bodyPr/>
        <a:lstStyle/>
        <a:p>
          <a:endParaRPr lang="en-US" sz="1200"/>
        </a:p>
      </dgm:t>
    </dgm:pt>
    <dgm:pt modelId="{9070CC88-EB24-E342-9919-2FCA608334E5}">
      <dgm:prSet phldrT="[Text]" custT="1"/>
      <dgm:spPr>
        <a:solidFill>
          <a:srgbClr val="FF0000"/>
        </a:solidFill>
      </dgm:spPr>
      <dgm:t>
        <a:bodyPr/>
        <a:lstStyle/>
        <a:p>
          <a:r>
            <a:rPr lang="en-US" sz="1200"/>
            <a:t>Energy recovery</a:t>
          </a:r>
          <a:endParaRPr lang="en-US" sz="1200" dirty="0"/>
        </a:p>
      </dgm:t>
    </dgm:pt>
    <dgm:pt modelId="{30E0EEE2-ED8D-344C-BEF1-43872E0C324F}" type="parTrans" cxnId="{5956DCBB-16F7-5D44-958D-C05DEB8C222C}">
      <dgm:prSet/>
      <dgm:spPr/>
      <dgm:t>
        <a:bodyPr/>
        <a:lstStyle/>
        <a:p>
          <a:endParaRPr lang="en-US" sz="1200"/>
        </a:p>
      </dgm:t>
    </dgm:pt>
    <dgm:pt modelId="{2ECC5143-3180-3C4B-811C-998BB359243F}" type="sibTrans" cxnId="{5956DCBB-16F7-5D44-958D-C05DEB8C222C}">
      <dgm:prSet/>
      <dgm:spPr/>
      <dgm:t>
        <a:bodyPr/>
        <a:lstStyle/>
        <a:p>
          <a:endParaRPr lang="en-US" sz="1200"/>
        </a:p>
      </dgm:t>
    </dgm:pt>
    <dgm:pt modelId="{17F7B346-7E44-884B-B208-34553535058F}">
      <dgm:prSet phldrT="[Text]" custT="1"/>
      <dgm:spPr>
        <a:solidFill>
          <a:srgbClr val="C00000"/>
        </a:solidFill>
      </dgm:spPr>
      <dgm:t>
        <a:bodyPr/>
        <a:lstStyle/>
        <a:p>
          <a:r>
            <a:rPr lang="en-US" sz="1200" dirty="0"/>
            <a:t>Disposal</a:t>
          </a:r>
        </a:p>
      </dgm:t>
    </dgm:pt>
    <dgm:pt modelId="{AE3C9A01-2803-544D-9237-2EC60AD9C246}" type="parTrans" cxnId="{70E05AA2-8852-724A-AC88-971615452AC0}">
      <dgm:prSet/>
      <dgm:spPr/>
      <dgm:t>
        <a:bodyPr/>
        <a:lstStyle/>
        <a:p>
          <a:endParaRPr lang="en-US" sz="1200"/>
        </a:p>
      </dgm:t>
    </dgm:pt>
    <dgm:pt modelId="{E9E48421-DF2E-E243-AFA0-DCCF2D7A210A}" type="sibTrans" cxnId="{70E05AA2-8852-724A-AC88-971615452AC0}">
      <dgm:prSet/>
      <dgm:spPr/>
      <dgm:t>
        <a:bodyPr/>
        <a:lstStyle/>
        <a:p>
          <a:endParaRPr lang="en-US" sz="1200"/>
        </a:p>
      </dgm:t>
    </dgm:pt>
    <dgm:pt modelId="{487C6DDB-16EA-8048-89A6-EBE7F5139E87}">
      <dgm:prSet phldrT="[Text]" custT="1"/>
      <dgm:spPr>
        <a:solidFill>
          <a:schemeClr val="accent6"/>
        </a:solidFill>
      </dgm:spPr>
      <dgm:t>
        <a:bodyPr/>
        <a:lstStyle/>
        <a:p>
          <a:endParaRPr lang="en-US" sz="1200" dirty="0"/>
        </a:p>
      </dgm:t>
    </dgm:pt>
    <dgm:pt modelId="{B187C270-F206-EB47-969D-F237983DA29B}" type="sibTrans" cxnId="{FE5729D9-B480-4043-AF2B-FAAE076BAE54}">
      <dgm:prSet/>
      <dgm:spPr/>
      <dgm:t>
        <a:bodyPr/>
        <a:lstStyle/>
        <a:p>
          <a:endParaRPr lang="en-US" sz="1200"/>
        </a:p>
      </dgm:t>
    </dgm:pt>
    <dgm:pt modelId="{F4C6CB43-A4A1-B344-B75F-5C507D5AB346}" type="parTrans" cxnId="{FE5729D9-B480-4043-AF2B-FAAE076BAE54}">
      <dgm:prSet/>
      <dgm:spPr/>
      <dgm:t>
        <a:bodyPr/>
        <a:lstStyle/>
        <a:p>
          <a:endParaRPr lang="en-US" sz="1200"/>
        </a:p>
      </dgm:t>
    </dgm:pt>
    <dgm:pt modelId="{6ECD5B3B-9384-5444-8A5D-3417A6E94D0F}" type="pres">
      <dgm:prSet presAssocID="{E63B5B2B-F6A6-8441-A576-D26F920DC37F}" presName="Name0" presStyleCnt="0">
        <dgm:presLayoutVars>
          <dgm:dir/>
          <dgm:animLvl val="lvl"/>
          <dgm:resizeHandles val="exact"/>
        </dgm:presLayoutVars>
      </dgm:prSet>
      <dgm:spPr/>
    </dgm:pt>
    <dgm:pt modelId="{4C6A5A9E-52EB-664C-8E84-0B6237493D5E}" type="pres">
      <dgm:prSet presAssocID="{487C6DDB-16EA-8048-89A6-EBE7F5139E87}" presName="Name8" presStyleCnt="0"/>
      <dgm:spPr/>
    </dgm:pt>
    <dgm:pt modelId="{F18AD3D4-3EBF-6740-A7F5-A34CCB8DAF75}" type="pres">
      <dgm:prSet presAssocID="{487C6DDB-16EA-8048-89A6-EBE7F5139E87}" presName="level" presStyleLbl="node1" presStyleIdx="0" presStyleCnt="6" custLinFactNeighborY="0">
        <dgm:presLayoutVars>
          <dgm:chMax val="1"/>
          <dgm:bulletEnabled val="1"/>
        </dgm:presLayoutVars>
      </dgm:prSet>
      <dgm:spPr/>
    </dgm:pt>
    <dgm:pt modelId="{6C68EA97-559F-5B4C-BAEF-7523CDE8859F}" type="pres">
      <dgm:prSet presAssocID="{487C6DDB-16EA-8048-89A6-EBE7F5139E8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D8399FB-5995-A348-BEB7-AC598E062549}" type="pres">
      <dgm:prSet presAssocID="{7B85411E-E25C-6F42-91E4-53D6A772A7AE}" presName="Name8" presStyleCnt="0"/>
      <dgm:spPr/>
    </dgm:pt>
    <dgm:pt modelId="{E4AD5763-DCE8-8646-9423-0796D183EB64}" type="pres">
      <dgm:prSet presAssocID="{7B85411E-E25C-6F42-91E4-53D6A772A7AE}" presName="level" presStyleLbl="node1" presStyleIdx="1" presStyleCnt="6">
        <dgm:presLayoutVars>
          <dgm:chMax val="1"/>
          <dgm:bulletEnabled val="1"/>
        </dgm:presLayoutVars>
      </dgm:prSet>
      <dgm:spPr/>
    </dgm:pt>
    <dgm:pt modelId="{AC8E9D14-6819-8F4A-9C5D-059395C22341}" type="pres">
      <dgm:prSet presAssocID="{7B85411E-E25C-6F42-91E4-53D6A772A7AE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9E4AA830-91D0-0541-A272-2817ECCF0C25}" type="pres">
      <dgm:prSet presAssocID="{761DA577-FE2E-1D4B-90D0-641EE07F9D88}" presName="Name8" presStyleCnt="0"/>
      <dgm:spPr/>
    </dgm:pt>
    <dgm:pt modelId="{49A2C099-09E7-5845-9B71-7892FA5F19FA}" type="pres">
      <dgm:prSet presAssocID="{761DA577-FE2E-1D4B-90D0-641EE07F9D88}" presName="level" presStyleLbl="node1" presStyleIdx="2" presStyleCnt="6">
        <dgm:presLayoutVars>
          <dgm:chMax val="1"/>
          <dgm:bulletEnabled val="1"/>
        </dgm:presLayoutVars>
      </dgm:prSet>
      <dgm:spPr/>
    </dgm:pt>
    <dgm:pt modelId="{3E34D7F9-55F3-AE4B-82A2-173B2B147DA6}" type="pres">
      <dgm:prSet presAssocID="{761DA577-FE2E-1D4B-90D0-641EE07F9D8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3F559EEF-40ED-164D-BA25-7684CFE7966F}" type="pres">
      <dgm:prSet presAssocID="{13EE726E-487B-BC42-956A-027D42CABA5C}" presName="Name8" presStyleCnt="0"/>
      <dgm:spPr/>
    </dgm:pt>
    <dgm:pt modelId="{10773469-3A0F-944C-A64E-5813C95065EA}" type="pres">
      <dgm:prSet presAssocID="{13EE726E-487B-BC42-956A-027D42CABA5C}" presName="level" presStyleLbl="node1" presStyleIdx="3" presStyleCnt="6">
        <dgm:presLayoutVars>
          <dgm:chMax val="1"/>
          <dgm:bulletEnabled val="1"/>
        </dgm:presLayoutVars>
      </dgm:prSet>
      <dgm:spPr/>
    </dgm:pt>
    <dgm:pt modelId="{FA4DB1DE-A406-3B45-877A-D855E498BDD6}" type="pres">
      <dgm:prSet presAssocID="{13EE726E-487B-BC42-956A-027D42CABA5C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751D3CF-4B1F-6745-90AB-D68983DE85B9}" type="pres">
      <dgm:prSet presAssocID="{9070CC88-EB24-E342-9919-2FCA608334E5}" presName="Name8" presStyleCnt="0"/>
      <dgm:spPr/>
    </dgm:pt>
    <dgm:pt modelId="{7D0C00B8-FBB5-E542-BB8C-D7C0963864DD}" type="pres">
      <dgm:prSet presAssocID="{9070CC88-EB24-E342-9919-2FCA608334E5}" presName="level" presStyleLbl="node1" presStyleIdx="4" presStyleCnt="6">
        <dgm:presLayoutVars>
          <dgm:chMax val="1"/>
          <dgm:bulletEnabled val="1"/>
        </dgm:presLayoutVars>
      </dgm:prSet>
      <dgm:spPr/>
    </dgm:pt>
    <dgm:pt modelId="{7F1E56D0-FCE2-0E43-AE50-B92A1C2A4023}" type="pres">
      <dgm:prSet presAssocID="{9070CC88-EB24-E342-9919-2FCA608334E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8AD44FA-A843-7B4C-B095-72629FE63ABF}" type="pres">
      <dgm:prSet presAssocID="{17F7B346-7E44-884B-B208-34553535058F}" presName="Name8" presStyleCnt="0"/>
      <dgm:spPr/>
    </dgm:pt>
    <dgm:pt modelId="{E0640EEF-CCD0-A143-B7C0-98B8459BB784}" type="pres">
      <dgm:prSet presAssocID="{17F7B346-7E44-884B-B208-34553535058F}" presName="level" presStyleLbl="node1" presStyleIdx="5" presStyleCnt="6">
        <dgm:presLayoutVars>
          <dgm:chMax val="1"/>
          <dgm:bulletEnabled val="1"/>
        </dgm:presLayoutVars>
      </dgm:prSet>
      <dgm:spPr/>
    </dgm:pt>
    <dgm:pt modelId="{DBA6EBB8-21A0-894A-BA2E-6E7C6406075C}" type="pres">
      <dgm:prSet presAssocID="{17F7B346-7E44-884B-B208-34553535058F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D256FA1F-3155-6149-9200-843C7A0C4C1E}" type="presOf" srcId="{487C6DDB-16EA-8048-89A6-EBE7F5139E87}" destId="{6C68EA97-559F-5B4C-BAEF-7523CDE8859F}" srcOrd="1" destOrd="0" presId="urn:microsoft.com/office/officeart/2005/8/layout/pyramid1"/>
    <dgm:cxn modelId="{CF21072C-575D-2F4E-93E4-CEDCCDBF386D}" type="presOf" srcId="{17F7B346-7E44-884B-B208-34553535058F}" destId="{E0640EEF-CCD0-A143-B7C0-98B8459BB784}" srcOrd="0" destOrd="0" presId="urn:microsoft.com/office/officeart/2005/8/layout/pyramid1"/>
    <dgm:cxn modelId="{46D4912C-7830-9547-AEDF-D900520E6F1A}" type="presOf" srcId="{13EE726E-487B-BC42-956A-027D42CABA5C}" destId="{FA4DB1DE-A406-3B45-877A-D855E498BDD6}" srcOrd="1" destOrd="0" presId="urn:microsoft.com/office/officeart/2005/8/layout/pyramid1"/>
    <dgm:cxn modelId="{4178185E-9538-0547-98BD-A530CB2F1DAC}" type="presOf" srcId="{13EE726E-487B-BC42-956A-027D42CABA5C}" destId="{10773469-3A0F-944C-A64E-5813C95065EA}" srcOrd="0" destOrd="0" presId="urn:microsoft.com/office/officeart/2005/8/layout/pyramid1"/>
    <dgm:cxn modelId="{9D33C196-5164-CC4F-B1E8-87B97FE06648}" type="presOf" srcId="{E63B5B2B-F6A6-8441-A576-D26F920DC37F}" destId="{6ECD5B3B-9384-5444-8A5D-3417A6E94D0F}" srcOrd="0" destOrd="0" presId="urn:microsoft.com/office/officeart/2005/8/layout/pyramid1"/>
    <dgm:cxn modelId="{CC249697-8844-2B42-88A9-22A59EC37AA4}" type="presOf" srcId="{7B85411E-E25C-6F42-91E4-53D6A772A7AE}" destId="{AC8E9D14-6819-8F4A-9C5D-059395C22341}" srcOrd="1" destOrd="0" presId="urn:microsoft.com/office/officeart/2005/8/layout/pyramid1"/>
    <dgm:cxn modelId="{70E05AA2-8852-724A-AC88-971615452AC0}" srcId="{E63B5B2B-F6A6-8441-A576-D26F920DC37F}" destId="{17F7B346-7E44-884B-B208-34553535058F}" srcOrd="5" destOrd="0" parTransId="{AE3C9A01-2803-544D-9237-2EC60AD9C246}" sibTransId="{E9E48421-DF2E-E243-AFA0-DCCF2D7A210A}"/>
    <dgm:cxn modelId="{E81B47A4-8275-714F-AAE4-11DDDFB37008}" srcId="{E63B5B2B-F6A6-8441-A576-D26F920DC37F}" destId="{761DA577-FE2E-1D4B-90D0-641EE07F9D88}" srcOrd="2" destOrd="0" parTransId="{233C13BD-E584-CC4A-841F-18ABEF05A60D}" sibTransId="{EE783346-9836-534D-84F2-4BD295C9BE78}"/>
    <dgm:cxn modelId="{394BB1A5-A348-6741-B1D1-1511E3546EEE}" type="presOf" srcId="{17F7B346-7E44-884B-B208-34553535058F}" destId="{DBA6EBB8-21A0-894A-BA2E-6E7C6406075C}" srcOrd="1" destOrd="0" presId="urn:microsoft.com/office/officeart/2005/8/layout/pyramid1"/>
    <dgm:cxn modelId="{48E423AD-18E3-5449-9DDC-353EF8464CCD}" type="presOf" srcId="{761DA577-FE2E-1D4B-90D0-641EE07F9D88}" destId="{49A2C099-09E7-5845-9B71-7892FA5F19FA}" srcOrd="0" destOrd="0" presId="urn:microsoft.com/office/officeart/2005/8/layout/pyramid1"/>
    <dgm:cxn modelId="{07103FB3-B31A-4949-B1AE-90FA3DB140AF}" type="presOf" srcId="{9070CC88-EB24-E342-9919-2FCA608334E5}" destId="{7D0C00B8-FBB5-E542-BB8C-D7C0963864DD}" srcOrd="0" destOrd="0" presId="urn:microsoft.com/office/officeart/2005/8/layout/pyramid1"/>
    <dgm:cxn modelId="{40220FB7-89F5-F447-AFAC-4208393A193C}" type="presOf" srcId="{761DA577-FE2E-1D4B-90D0-641EE07F9D88}" destId="{3E34D7F9-55F3-AE4B-82A2-173B2B147DA6}" srcOrd="1" destOrd="0" presId="urn:microsoft.com/office/officeart/2005/8/layout/pyramid1"/>
    <dgm:cxn modelId="{5956DCBB-16F7-5D44-958D-C05DEB8C222C}" srcId="{E63B5B2B-F6A6-8441-A576-D26F920DC37F}" destId="{9070CC88-EB24-E342-9919-2FCA608334E5}" srcOrd="4" destOrd="0" parTransId="{30E0EEE2-ED8D-344C-BEF1-43872E0C324F}" sibTransId="{2ECC5143-3180-3C4B-811C-998BB359243F}"/>
    <dgm:cxn modelId="{53F322BC-37DA-7D4A-9153-7D7FAE8A4959}" type="presOf" srcId="{487C6DDB-16EA-8048-89A6-EBE7F5139E87}" destId="{F18AD3D4-3EBF-6740-A7F5-A34CCB8DAF75}" srcOrd="0" destOrd="0" presId="urn:microsoft.com/office/officeart/2005/8/layout/pyramid1"/>
    <dgm:cxn modelId="{48C3A3BC-42BB-574B-B352-676F1D08287C}" srcId="{E63B5B2B-F6A6-8441-A576-D26F920DC37F}" destId="{13EE726E-487B-BC42-956A-027D42CABA5C}" srcOrd="3" destOrd="0" parTransId="{64E3511B-7E49-764F-99C6-260A3CE823FF}" sibTransId="{730F1F49-C290-164E-95BF-400B875FFE30}"/>
    <dgm:cxn modelId="{75B68CD2-F4CE-984E-AF23-770AB3E12A04}" type="presOf" srcId="{7B85411E-E25C-6F42-91E4-53D6A772A7AE}" destId="{E4AD5763-DCE8-8646-9423-0796D183EB64}" srcOrd="0" destOrd="0" presId="urn:microsoft.com/office/officeart/2005/8/layout/pyramid1"/>
    <dgm:cxn modelId="{FE5729D9-B480-4043-AF2B-FAAE076BAE54}" srcId="{E63B5B2B-F6A6-8441-A576-D26F920DC37F}" destId="{487C6DDB-16EA-8048-89A6-EBE7F5139E87}" srcOrd="0" destOrd="0" parTransId="{F4C6CB43-A4A1-B344-B75F-5C507D5AB346}" sibTransId="{B187C270-F206-EB47-969D-F237983DA29B}"/>
    <dgm:cxn modelId="{0F38DDDB-4936-6642-B107-CD0B73EB4D34}" type="presOf" srcId="{9070CC88-EB24-E342-9919-2FCA608334E5}" destId="{7F1E56D0-FCE2-0E43-AE50-B92A1C2A4023}" srcOrd="1" destOrd="0" presId="urn:microsoft.com/office/officeart/2005/8/layout/pyramid1"/>
    <dgm:cxn modelId="{F4BD41E2-66AF-FD41-B3E4-D1D9BA0E0489}" srcId="{E63B5B2B-F6A6-8441-A576-D26F920DC37F}" destId="{7B85411E-E25C-6F42-91E4-53D6A772A7AE}" srcOrd="1" destOrd="0" parTransId="{1F49EEF7-00DB-F24E-ABA1-76F8D1DAA17B}" sibTransId="{7E267195-F0D2-F446-B54C-EC6424F5757D}"/>
    <dgm:cxn modelId="{FECBA123-C91B-8B4D-BF4C-FB439FA2C695}" type="presParOf" srcId="{6ECD5B3B-9384-5444-8A5D-3417A6E94D0F}" destId="{4C6A5A9E-52EB-664C-8E84-0B6237493D5E}" srcOrd="0" destOrd="0" presId="urn:microsoft.com/office/officeart/2005/8/layout/pyramid1"/>
    <dgm:cxn modelId="{A0BCF445-F5D1-1B41-9D3D-253CA10CD8EC}" type="presParOf" srcId="{4C6A5A9E-52EB-664C-8E84-0B6237493D5E}" destId="{F18AD3D4-3EBF-6740-A7F5-A34CCB8DAF75}" srcOrd="0" destOrd="0" presId="urn:microsoft.com/office/officeart/2005/8/layout/pyramid1"/>
    <dgm:cxn modelId="{67E35574-273D-7E40-8030-619D24D72EFF}" type="presParOf" srcId="{4C6A5A9E-52EB-664C-8E84-0B6237493D5E}" destId="{6C68EA97-559F-5B4C-BAEF-7523CDE8859F}" srcOrd="1" destOrd="0" presId="urn:microsoft.com/office/officeart/2005/8/layout/pyramid1"/>
    <dgm:cxn modelId="{C4D48264-982B-F94F-905E-93A8BDBDB777}" type="presParOf" srcId="{6ECD5B3B-9384-5444-8A5D-3417A6E94D0F}" destId="{7D8399FB-5995-A348-BEB7-AC598E062549}" srcOrd="1" destOrd="0" presId="urn:microsoft.com/office/officeart/2005/8/layout/pyramid1"/>
    <dgm:cxn modelId="{FEE54F2C-1D91-C147-A432-936938169FC6}" type="presParOf" srcId="{7D8399FB-5995-A348-BEB7-AC598E062549}" destId="{E4AD5763-DCE8-8646-9423-0796D183EB64}" srcOrd="0" destOrd="0" presId="urn:microsoft.com/office/officeart/2005/8/layout/pyramid1"/>
    <dgm:cxn modelId="{6483BC9D-ED3C-F240-BF59-077192B5A631}" type="presParOf" srcId="{7D8399FB-5995-A348-BEB7-AC598E062549}" destId="{AC8E9D14-6819-8F4A-9C5D-059395C22341}" srcOrd="1" destOrd="0" presId="urn:microsoft.com/office/officeart/2005/8/layout/pyramid1"/>
    <dgm:cxn modelId="{0E246D9A-9336-9340-BBFD-C7D726AB2718}" type="presParOf" srcId="{6ECD5B3B-9384-5444-8A5D-3417A6E94D0F}" destId="{9E4AA830-91D0-0541-A272-2817ECCF0C25}" srcOrd="2" destOrd="0" presId="urn:microsoft.com/office/officeart/2005/8/layout/pyramid1"/>
    <dgm:cxn modelId="{C7856B67-25F0-9943-9476-A748DB803868}" type="presParOf" srcId="{9E4AA830-91D0-0541-A272-2817ECCF0C25}" destId="{49A2C099-09E7-5845-9B71-7892FA5F19FA}" srcOrd="0" destOrd="0" presId="urn:microsoft.com/office/officeart/2005/8/layout/pyramid1"/>
    <dgm:cxn modelId="{9D0C15BB-610E-6E4B-AC15-CA023C31375D}" type="presParOf" srcId="{9E4AA830-91D0-0541-A272-2817ECCF0C25}" destId="{3E34D7F9-55F3-AE4B-82A2-173B2B147DA6}" srcOrd="1" destOrd="0" presId="urn:microsoft.com/office/officeart/2005/8/layout/pyramid1"/>
    <dgm:cxn modelId="{039CB13C-FA33-414A-952A-5C5BB0D944CE}" type="presParOf" srcId="{6ECD5B3B-9384-5444-8A5D-3417A6E94D0F}" destId="{3F559EEF-40ED-164D-BA25-7684CFE7966F}" srcOrd="3" destOrd="0" presId="urn:microsoft.com/office/officeart/2005/8/layout/pyramid1"/>
    <dgm:cxn modelId="{C5C9B4C8-0856-2D41-990E-6B86989ECA1A}" type="presParOf" srcId="{3F559EEF-40ED-164D-BA25-7684CFE7966F}" destId="{10773469-3A0F-944C-A64E-5813C95065EA}" srcOrd="0" destOrd="0" presId="urn:microsoft.com/office/officeart/2005/8/layout/pyramid1"/>
    <dgm:cxn modelId="{FAB375E3-A609-7240-98E6-48CE56BBBBD4}" type="presParOf" srcId="{3F559EEF-40ED-164D-BA25-7684CFE7966F}" destId="{FA4DB1DE-A406-3B45-877A-D855E498BDD6}" srcOrd="1" destOrd="0" presId="urn:microsoft.com/office/officeart/2005/8/layout/pyramid1"/>
    <dgm:cxn modelId="{90D54F32-9252-D648-9338-1AFB068038FD}" type="presParOf" srcId="{6ECD5B3B-9384-5444-8A5D-3417A6E94D0F}" destId="{6751D3CF-4B1F-6745-90AB-D68983DE85B9}" srcOrd="4" destOrd="0" presId="urn:microsoft.com/office/officeart/2005/8/layout/pyramid1"/>
    <dgm:cxn modelId="{4777B3F6-D00F-054D-BA89-046D451C66AA}" type="presParOf" srcId="{6751D3CF-4B1F-6745-90AB-D68983DE85B9}" destId="{7D0C00B8-FBB5-E542-BB8C-D7C0963864DD}" srcOrd="0" destOrd="0" presId="urn:microsoft.com/office/officeart/2005/8/layout/pyramid1"/>
    <dgm:cxn modelId="{CCEA2522-52CB-F543-BC4E-25FC3F1C0F70}" type="presParOf" srcId="{6751D3CF-4B1F-6745-90AB-D68983DE85B9}" destId="{7F1E56D0-FCE2-0E43-AE50-B92A1C2A4023}" srcOrd="1" destOrd="0" presId="urn:microsoft.com/office/officeart/2005/8/layout/pyramid1"/>
    <dgm:cxn modelId="{489C8C7A-65A1-A548-8471-CF5535921105}" type="presParOf" srcId="{6ECD5B3B-9384-5444-8A5D-3417A6E94D0F}" destId="{D8AD44FA-A843-7B4C-B095-72629FE63ABF}" srcOrd="5" destOrd="0" presId="urn:microsoft.com/office/officeart/2005/8/layout/pyramid1"/>
    <dgm:cxn modelId="{814440EC-0796-1648-92F5-15EDD6CE0D54}" type="presParOf" srcId="{D8AD44FA-A843-7B4C-B095-72629FE63ABF}" destId="{E0640EEF-CCD0-A143-B7C0-98B8459BB784}" srcOrd="0" destOrd="0" presId="urn:microsoft.com/office/officeart/2005/8/layout/pyramid1"/>
    <dgm:cxn modelId="{EC2BFBA6-342A-5144-96EE-7F0F5746A0FD}" type="presParOf" srcId="{D8AD44FA-A843-7B4C-B095-72629FE63ABF}" destId="{DBA6EBB8-21A0-894A-BA2E-6E7C6406075C}" srcOrd="1" destOrd="0" presId="urn:microsoft.com/office/officeart/2005/8/layout/pyramid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E63B5B2B-F6A6-8441-A576-D26F920DC37F}" type="doc">
      <dgm:prSet loTypeId="urn:microsoft.com/office/officeart/2005/8/layout/pyramid1" loCatId="" qsTypeId="urn:microsoft.com/office/officeart/2005/8/quickstyle/simple4" qsCatId="simple" csTypeId="urn:microsoft.com/office/officeart/2005/8/colors/colorful3" csCatId="colorful" phldr="1"/>
      <dgm:spPr/>
    </dgm:pt>
    <dgm:pt modelId="{7B85411E-E25C-6F42-91E4-53D6A772A7AE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US" sz="1200" dirty="0"/>
            <a:t>Reduction</a:t>
          </a:r>
        </a:p>
      </dgm:t>
    </dgm:pt>
    <dgm:pt modelId="{1F49EEF7-00DB-F24E-ABA1-76F8D1DAA17B}" type="parTrans" cxnId="{F4BD41E2-66AF-FD41-B3E4-D1D9BA0E0489}">
      <dgm:prSet/>
      <dgm:spPr/>
      <dgm:t>
        <a:bodyPr/>
        <a:lstStyle/>
        <a:p>
          <a:endParaRPr lang="en-US" sz="1200"/>
        </a:p>
      </dgm:t>
    </dgm:pt>
    <dgm:pt modelId="{7E267195-F0D2-F446-B54C-EC6424F5757D}" type="sibTrans" cxnId="{F4BD41E2-66AF-FD41-B3E4-D1D9BA0E0489}">
      <dgm:prSet/>
      <dgm:spPr/>
      <dgm:t>
        <a:bodyPr/>
        <a:lstStyle/>
        <a:p>
          <a:endParaRPr lang="en-US" sz="1200"/>
        </a:p>
      </dgm:t>
    </dgm:pt>
    <dgm:pt modelId="{761DA577-FE2E-1D4B-90D0-641EE07F9D88}">
      <dgm:prSet phldrT="[Text]" custT="1"/>
      <dgm:spPr>
        <a:solidFill>
          <a:srgbClr val="FFFF00"/>
        </a:solidFill>
      </dgm:spPr>
      <dgm:t>
        <a:bodyPr/>
        <a:lstStyle/>
        <a:p>
          <a:r>
            <a:rPr lang="en-US" sz="1200" dirty="0"/>
            <a:t>Reuse</a:t>
          </a:r>
        </a:p>
      </dgm:t>
    </dgm:pt>
    <dgm:pt modelId="{233C13BD-E584-CC4A-841F-18ABEF05A60D}" type="parTrans" cxnId="{E81B47A4-8275-714F-AAE4-11DDDFB37008}">
      <dgm:prSet/>
      <dgm:spPr/>
      <dgm:t>
        <a:bodyPr/>
        <a:lstStyle/>
        <a:p>
          <a:endParaRPr lang="en-US" sz="1200"/>
        </a:p>
      </dgm:t>
    </dgm:pt>
    <dgm:pt modelId="{EE783346-9836-534D-84F2-4BD295C9BE78}" type="sibTrans" cxnId="{E81B47A4-8275-714F-AAE4-11DDDFB37008}">
      <dgm:prSet/>
      <dgm:spPr/>
      <dgm:t>
        <a:bodyPr/>
        <a:lstStyle/>
        <a:p>
          <a:endParaRPr lang="en-US" sz="1200"/>
        </a:p>
      </dgm:t>
    </dgm:pt>
    <dgm:pt modelId="{13EE726E-487B-BC42-956A-027D42CABA5C}">
      <dgm:prSet phldrT="[Text]" custT="1"/>
      <dgm:spPr>
        <a:solidFill>
          <a:srgbClr val="FFC000"/>
        </a:solidFill>
      </dgm:spPr>
      <dgm:t>
        <a:bodyPr/>
        <a:lstStyle/>
        <a:p>
          <a:r>
            <a:rPr lang="en-US" sz="1200"/>
            <a:t>Recycling</a:t>
          </a:r>
          <a:endParaRPr lang="en-US" sz="1200" dirty="0"/>
        </a:p>
      </dgm:t>
    </dgm:pt>
    <dgm:pt modelId="{64E3511B-7E49-764F-99C6-260A3CE823FF}" type="parTrans" cxnId="{48C3A3BC-42BB-574B-B352-676F1D08287C}">
      <dgm:prSet/>
      <dgm:spPr/>
      <dgm:t>
        <a:bodyPr/>
        <a:lstStyle/>
        <a:p>
          <a:endParaRPr lang="en-US" sz="1200"/>
        </a:p>
      </dgm:t>
    </dgm:pt>
    <dgm:pt modelId="{730F1F49-C290-164E-95BF-400B875FFE30}" type="sibTrans" cxnId="{48C3A3BC-42BB-574B-B352-676F1D08287C}">
      <dgm:prSet/>
      <dgm:spPr/>
      <dgm:t>
        <a:bodyPr/>
        <a:lstStyle/>
        <a:p>
          <a:endParaRPr lang="en-US" sz="1200"/>
        </a:p>
      </dgm:t>
    </dgm:pt>
    <dgm:pt modelId="{9070CC88-EB24-E342-9919-2FCA608334E5}">
      <dgm:prSet phldrT="[Text]" custT="1"/>
      <dgm:spPr>
        <a:solidFill>
          <a:srgbClr val="FF0000"/>
        </a:solidFill>
      </dgm:spPr>
      <dgm:t>
        <a:bodyPr/>
        <a:lstStyle/>
        <a:p>
          <a:r>
            <a:rPr lang="en-US" sz="1200"/>
            <a:t>Energy recovery</a:t>
          </a:r>
          <a:endParaRPr lang="en-US" sz="1200" dirty="0"/>
        </a:p>
      </dgm:t>
    </dgm:pt>
    <dgm:pt modelId="{30E0EEE2-ED8D-344C-BEF1-43872E0C324F}" type="parTrans" cxnId="{5956DCBB-16F7-5D44-958D-C05DEB8C222C}">
      <dgm:prSet/>
      <dgm:spPr/>
      <dgm:t>
        <a:bodyPr/>
        <a:lstStyle/>
        <a:p>
          <a:endParaRPr lang="en-US" sz="1200"/>
        </a:p>
      </dgm:t>
    </dgm:pt>
    <dgm:pt modelId="{2ECC5143-3180-3C4B-811C-998BB359243F}" type="sibTrans" cxnId="{5956DCBB-16F7-5D44-958D-C05DEB8C222C}">
      <dgm:prSet/>
      <dgm:spPr/>
      <dgm:t>
        <a:bodyPr/>
        <a:lstStyle/>
        <a:p>
          <a:endParaRPr lang="en-US" sz="1200"/>
        </a:p>
      </dgm:t>
    </dgm:pt>
    <dgm:pt modelId="{17F7B346-7E44-884B-B208-34553535058F}">
      <dgm:prSet phldrT="[Text]" custT="1"/>
      <dgm:spPr>
        <a:solidFill>
          <a:srgbClr val="C00000"/>
        </a:solidFill>
      </dgm:spPr>
      <dgm:t>
        <a:bodyPr/>
        <a:lstStyle/>
        <a:p>
          <a:r>
            <a:rPr lang="en-US" sz="1200" dirty="0"/>
            <a:t>Disposal</a:t>
          </a:r>
        </a:p>
      </dgm:t>
    </dgm:pt>
    <dgm:pt modelId="{AE3C9A01-2803-544D-9237-2EC60AD9C246}" type="parTrans" cxnId="{70E05AA2-8852-724A-AC88-971615452AC0}">
      <dgm:prSet/>
      <dgm:spPr/>
      <dgm:t>
        <a:bodyPr/>
        <a:lstStyle/>
        <a:p>
          <a:endParaRPr lang="en-US" sz="1200"/>
        </a:p>
      </dgm:t>
    </dgm:pt>
    <dgm:pt modelId="{E9E48421-DF2E-E243-AFA0-DCCF2D7A210A}" type="sibTrans" cxnId="{70E05AA2-8852-724A-AC88-971615452AC0}">
      <dgm:prSet/>
      <dgm:spPr/>
      <dgm:t>
        <a:bodyPr/>
        <a:lstStyle/>
        <a:p>
          <a:endParaRPr lang="en-US" sz="1200"/>
        </a:p>
      </dgm:t>
    </dgm:pt>
    <dgm:pt modelId="{487C6DDB-16EA-8048-89A6-EBE7F5139E87}">
      <dgm:prSet phldrT="[Text]" custT="1"/>
      <dgm:spPr>
        <a:solidFill>
          <a:schemeClr val="accent6"/>
        </a:solidFill>
      </dgm:spPr>
      <dgm:t>
        <a:bodyPr/>
        <a:lstStyle/>
        <a:p>
          <a:endParaRPr lang="en-US" sz="1200" dirty="0"/>
        </a:p>
      </dgm:t>
    </dgm:pt>
    <dgm:pt modelId="{B187C270-F206-EB47-969D-F237983DA29B}" type="sibTrans" cxnId="{FE5729D9-B480-4043-AF2B-FAAE076BAE54}">
      <dgm:prSet/>
      <dgm:spPr/>
      <dgm:t>
        <a:bodyPr/>
        <a:lstStyle/>
        <a:p>
          <a:endParaRPr lang="en-US" sz="1200"/>
        </a:p>
      </dgm:t>
    </dgm:pt>
    <dgm:pt modelId="{F4C6CB43-A4A1-B344-B75F-5C507D5AB346}" type="parTrans" cxnId="{FE5729D9-B480-4043-AF2B-FAAE076BAE54}">
      <dgm:prSet/>
      <dgm:spPr/>
      <dgm:t>
        <a:bodyPr/>
        <a:lstStyle/>
        <a:p>
          <a:endParaRPr lang="en-US" sz="1200"/>
        </a:p>
      </dgm:t>
    </dgm:pt>
    <dgm:pt modelId="{6ECD5B3B-9384-5444-8A5D-3417A6E94D0F}" type="pres">
      <dgm:prSet presAssocID="{E63B5B2B-F6A6-8441-A576-D26F920DC37F}" presName="Name0" presStyleCnt="0">
        <dgm:presLayoutVars>
          <dgm:dir/>
          <dgm:animLvl val="lvl"/>
          <dgm:resizeHandles val="exact"/>
        </dgm:presLayoutVars>
      </dgm:prSet>
      <dgm:spPr/>
    </dgm:pt>
    <dgm:pt modelId="{4C6A5A9E-52EB-664C-8E84-0B6237493D5E}" type="pres">
      <dgm:prSet presAssocID="{487C6DDB-16EA-8048-89A6-EBE7F5139E87}" presName="Name8" presStyleCnt="0"/>
      <dgm:spPr/>
    </dgm:pt>
    <dgm:pt modelId="{F18AD3D4-3EBF-6740-A7F5-A34CCB8DAF75}" type="pres">
      <dgm:prSet presAssocID="{487C6DDB-16EA-8048-89A6-EBE7F5139E87}" presName="level" presStyleLbl="node1" presStyleIdx="0" presStyleCnt="6" custLinFactNeighborY="0">
        <dgm:presLayoutVars>
          <dgm:chMax val="1"/>
          <dgm:bulletEnabled val="1"/>
        </dgm:presLayoutVars>
      </dgm:prSet>
      <dgm:spPr/>
    </dgm:pt>
    <dgm:pt modelId="{6C68EA97-559F-5B4C-BAEF-7523CDE8859F}" type="pres">
      <dgm:prSet presAssocID="{487C6DDB-16EA-8048-89A6-EBE7F5139E8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D8399FB-5995-A348-BEB7-AC598E062549}" type="pres">
      <dgm:prSet presAssocID="{7B85411E-E25C-6F42-91E4-53D6A772A7AE}" presName="Name8" presStyleCnt="0"/>
      <dgm:spPr/>
    </dgm:pt>
    <dgm:pt modelId="{E4AD5763-DCE8-8646-9423-0796D183EB64}" type="pres">
      <dgm:prSet presAssocID="{7B85411E-E25C-6F42-91E4-53D6A772A7AE}" presName="level" presStyleLbl="node1" presStyleIdx="1" presStyleCnt="6">
        <dgm:presLayoutVars>
          <dgm:chMax val="1"/>
          <dgm:bulletEnabled val="1"/>
        </dgm:presLayoutVars>
      </dgm:prSet>
      <dgm:spPr/>
    </dgm:pt>
    <dgm:pt modelId="{AC8E9D14-6819-8F4A-9C5D-059395C22341}" type="pres">
      <dgm:prSet presAssocID="{7B85411E-E25C-6F42-91E4-53D6A772A7AE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9E4AA830-91D0-0541-A272-2817ECCF0C25}" type="pres">
      <dgm:prSet presAssocID="{761DA577-FE2E-1D4B-90D0-641EE07F9D88}" presName="Name8" presStyleCnt="0"/>
      <dgm:spPr/>
    </dgm:pt>
    <dgm:pt modelId="{49A2C099-09E7-5845-9B71-7892FA5F19FA}" type="pres">
      <dgm:prSet presAssocID="{761DA577-FE2E-1D4B-90D0-641EE07F9D88}" presName="level" presStyleLbl="node1" presStyleIdx="2" presStyleCnt="6">
        <dgm:presLayoutVars>
          <dgm:chMax val="1"/>
          <dgm:bulletEnabled val="1"/>
        </dgm:presLayoutVars>
      </dgm:prSet>
      <dgm:spPr/>
    </dgm:pt>
    <dgm:pt modelId="{3E34D7F9-55F3-AE4B-82A2-173B2B147DA6}" type="pres">
      <dgm:prSet presAssocID="{761DA577-FE2E-1D4B-90D0-641EE07F9D8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3F559EEF-40ED-164D-BA25-7684CFE7966F}" type="pres">
      <dgm:prSet presAssocID="{13EE726E-487B-BC42-956A-027D42CABA5C}" presName="Name8" presStyleCnt="0"/>
      <dgm:spPr/>
    </dgm:pt>
    <dgm:pt modelId="{10773469-3A0F-944C-A64E-5813C95065EA}" type="pres">
      <dgm:prSet presAssocID="{13EE726E-487B-BC42-956A-027D42CABA5C}" presName="level" presStyleLbl="node1" presStyleIdx="3" presStyleCnt="6">
        <dgm:presLayoutVars>
          <dgm:chMax val="1"/>
          <dgm:bulletEnabled val="1"/>
        </dgm:presLayoutVars>
      </dgm:prSet>
      <dgm:spPr/>
    </dgm:pt>
    <dgm:pt modelId="{FA4DB1DE-A406-3B45-877A-D855E498BDD6}" type="pres">
      <dgm:prSet presAssocID="{13EE726E-487B-BC42-956A-027D42CABA5C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751D3CF-4B1F-6745-90AB-D68983DE85B9}" type="pres">
      <dgm:prSet presAssocID="{9070CC88-EB24-E342-9919-2FCA608334E5}" presName="Name8" presStyleCnt="0"/>
      <dgm:spPr/>
    </dgm:pt>
    <dgm:pt modelId="{7D0C00B8-FBB5-E542-BB8C-D7C0963864DD}" type="pres">
      <dgm:prSet presAssocID="{9070CC88-EB24-E342-9919-2FCA608334E5}" presName="level" presStyleLbl="node1" presStyleIdx="4" presStyleCnt="6">
        <dgm:presLayoutVars>
          <dgm:chMax val="1"/>
          <dgm:bulletEnabled val="1"/>
        </dgm:presLayoutVars>
      </dgm:prSet>
      <dgm:spPr/>
    </dgm:pt>
    <dgm:pt modelId="{7F1E56D0-FCE2-0E43-AE50-B92A1C2A4023}" type="pres">
      <dgm:prSet presAssocID="{9070CC88-EB24-E342-9919-2FCA608334E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8AD44FA-A843-7B4C-B095-72629FE63ABF}" type="pres">
      <dgm:prSet presAssocID="{17F7B346-7E44-884B-B208-34553535058F}" presName="Name8" presStyleCnt="0"/>
      <dgm:spPr/>
    </dgm:pt>
    <dgm:pt modelId="{E0640EEF-CCD0-A143-B7C0-98B8459BB784}" type="pres">
      <dgm:prSet presAssocID="{17F7B346-7E44-884B-B208-34553535058F}" presName="level" presStyleLbl="node1" presStyleIdx="5" presStyleCnt="6">
        <dgm:presLayoutVars>
          <dgm:chMax val="1"/>
          <dgm:bulletEnabled val="1"/>
        </dgm:presLayoutVars>
      </dgm:prSet>
      <dgm:spPr/>
    </dgm:pt>
    <dgm:pt modelId="{DBA6EBB8-21A0-894A-BA2E-6E7C6406075C}" type="pres">
      <dgm:prSet presAssocID="{17F7B346-7E44-884B-B208-34553535058F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D256FA1F-3155-6149-9200-843C7A0C4C1E}" type="presOf" srcId="{487C6DDB-16EA-8048-89A6-EBE7F5139E87}" destId="{6C68EA97-559F-5B4C-BAEF-7523CDE8859F}" srcOrd="1" destOrd="0" presId="urn:microsoft.com/office/officeart/2005/8/layout/pyramid1"/>
    <dgm:cxn modelId="{CF21072C-575D-2F4E-93E4-CEDCCDBF386D}" type="presOf" srcId="{17F7B346-7E44-884B-B208-34553535058F}" destId="{E0640EEF-CCD0-A143-B7C0-98B8459BB784}" srcOrd="0" destOrd="0" presId="urn:microsoft.com/office/officeart/2005/8/layout/pyramid1"/>
    <dgm:cxn modelId="{46D4912C-7830-9547-AEDF-D900520E6F1A}" type="presOf" srcId="{13EE726E-487B-BC42-956A-027D42CABA5C}" destId="{FA4DB1DE-A406-3B45-877A-D855E498BDD6}" srcOrd="1" destOrd="0" presId="urn:microsoft.com/office/officeart/2005/8/layout/pyramid1"/>
    <dgm:cxn modelId="{4178185E-9538-0547-98BD-A530CB2F1DAC}" type="presOf" srcId="{13EE726E-487B-BC42-956A-027D42CABA5C}" destId="{10773469-3A0F-944C-A64E-5813C95065EA}" srcOrd="0" destOrd="0" presId="urn:microsoft.com/office/officeart/2005/8/layout/pyramid1"/>
    <dgm:cxn modelId="{9D33C196-5164-CC4F-B1E8-87B97FE06648}" type="presOf" srcId="{E63B5B2B-F6A6-8441-A576-D26F920DC37F}" destId="{6ECD5B3B-9384-5444-8A5D-3417A6E94D0F}" srcOrd="0" destOrd="0" presId="urn:microsoft.com/office/officeart/2005/8/layout/pyramid1"/>
    <dgm:cxn modelId="{CC249697-8844-2B42-88A9-22A59EC37AA4}" type="presOf" srcId="{7B85411E-E25C-6F42-91E4-53D6A772A7AE}" destId="{AC8E9D14-6819-8F4A-9C5D-059395C22341}" srcOrd="1" destOrd="0" presId="urn:microsoft.com/office/officeart/2005/8/layout/pyramid1"/>
    <dgm:cxn modelId="{70E05AA2-8852-724A-AC88-971615452AC0}" srcId="{E63B5B2B-F6A6-8441-A576-D26F920DC37F}" destId="{17F7B346-7E44-884B-B208-34553535058F}" srcOrd="5" destOrd="0" parTransId="{AE3C9A01-2803-544D-9237-2EC60AD9C246}" sibTransId="{E9E48421-DF2E-E243-AFA0-DCCF2D7A210A}"/>
    <dgm:cxn modelId="{E81B47A4-8275-714F-AAE4-11DDDFB37008}" srcId="{E63B5B2B-F6A6-8441-A576-D26F920DC37F}" destId="{761DA577-FE2E-1D4B-90D0-641EE07F9D88}" srcOrd="2" destOrd="0" parTransId="{233C13BD-E584-CC4A-841F-18ABEF05A60D}" sibTransId="{EE783346-9836-534D-84F2-4BD295C9BE78}"/>
    <dgm:cxn modelId="{394BB1A5-A348-6741-B1D1-1511E3546EEE}" type="presOf" srcId="{17F7B346-7E44-884B-B208-34553535058F}" destId="{DBA6EBB8-21A0-894A-BA2E-6E7C6406075C}" srcOrd="1" destOrd="0" presId="urn:microsoft.com/office/officeart/2005/8/layout/pyramid1"/>
    <dgm:cxn modelId="{48E423AD-18E3-5449-9DDC-353EF8464CCD}" type="presOf" srcId="{761DA577-FE2E-1D4B-90D0-641EE07F9D88}" destId="{49A2C099-09E7-5845-9B71-7892FA5F19FA}" srcOrd="0" destOrd="0" presId="urn:microsoft.com/office/officeart/2005/8/layout/pyramid1"/>
    <dgm:cxn modelId="{07103FB3-B31A-4949-B1AE-90FA3DB140AF}" type="presOf" srcId="{9070CC88-EB24-E342-9919-2FCA608334E5}" destId="{7D0C00B8-FBB5-E542-BB8C-D7C0963864DD}" srcOrd="0" destOrd="0" presId="urn:microsoft.com/office/officeart/2005/8/layout/pyramid1"/>
    <dgm:cxn modelId="{40220FB7-89F5-F447-AFAC-4208393A193C}" type="presOf" srcId="{761DA577-FE2E-1D4B-90D0-641EE07F9D88}" destId="{3E34D7F9-55F3-AE4B-82A2-173B2B147DA6}" srcOrd="1" destOrd="0" presId="urn:microsoft.com/office/officeart/2005/8/layout/pyramid1"/>
    <dgm:cxn modelId="{5956DCBB-16F7-5D44-958D-C05DEB8C222C}" srcId="{E63B5B2B-F6A6-8441-A576-D26F920DC37F}" destId="{9070CC88-EB24-E342-9919-2FCA608334E5}" srcOrd="4" destOrd="0" parTransId="{30E0EEE2-ED8D-344C-BEF1-43872E0C324F}" sibTransId="{2ECC5143-3180-3C4B-811C-998BB359243F}"/>
    <dgm:cxn modelId="{53F322BC-37DA-7D4A-9153-7D7FAE8A4959}" type="presOf" srcId="{487C6DDB-16EA-8048-89A6-EBE7F5139E87}" destId="{F18AD3D4-3EBF-6740-A7F5-A34CCB8DAF75}" srcOrd="0" destOrd="0" presId="urn:microsoft.com/office/officeart/2005/8/layout/pyramid1"/>
    <dgm:cxn modelId="{48C3A3BC-42BB-574B-B352-676F1D08287C}" srcId="{E63B5B2B-F6A6-8441-A576-D26F920DC37F}" destId="{13EE726E-487B-BC42-956A-027D42CABA5C}" srcOrd="3" destOrd="0" parTransId="{64E3511B-7E49-764F-99C6-260A3CE823FF}" sibTransId="{730F1F49-C290-164E-95BF-400B875FFE30}"/>
    <dgm:cxn modelId="{75B68CD2-F4CE-984E-AF23-770AB3E12A04}" type="presOf" srcId="{7B85411E-E25C-6F42-91E4-53D6A772A7AE}" destId="{E4AD5763-DCE8-8646-9423-0796D183EB64}" srcOrd="0" destOrd="0" presId="urn:microsoft.com/office/officeart/2005/8/layout/pyramid1"/>
    <dgm:cxn modelId="{FE5729D9-B480-4043-AF2B-FAAE076BAE54}" srcId="{E63B5B2B-F6A6-8441-A576-D26F920DC37F}" destId="{487C6DDB-16EA-8048-89A6-EBE7F5139E87}" srcOrd="0" destOrd="0" parTransId="{F4C6CB43-A4A1-B344-B75F-5C507D5AB346}" sibTransId="{B187C270-F206-EB47-969D-F237983DA29B}"/>
    <dgm:cxn modelId="{0F38DDDB-4936-6642-B107-CD0B73EB4D34}" type="presOf" srcId="{9070CC88-EB24-E342-9919-2FCA608334E5}" destId="{7F1E56D0-FCE2-0E43-AE50-B92A1C2A4023}" srcOrd="1" destOrd="0" presId="urn:microsoft.com/office/officeart/2005/8/layout/pyramid1"/>
    <dgm:cxn modelId="{F4BD41E2-66AF-FD41-B3E4-D1D9BA0E0489}" srcId="{E63B5B2B-F6A6-8441-A576-D26F920DC37F}" destId="{7B85411E-E25C-6F42-91E4-53D6A772A7AE}" srcOrd="1" destOrd="0" parTransId="{1F49EEF7-00DB-F24E-ABA1-76F8D1DAA17B}" sibTransId="{7E267195-F0D2-F446-B54C-EC6424F5757D}"/>
    <dgm:cxn modelId="{FECBA123-C91B-8B4D-BF4C-FB439FA2C695}" type="presParOf" srcId="{6ECD5B3B-9384-5444-8A5D-3417A6E94D0F}" destId="{4C6A5A9E-52EB-664C-8E84-0B6237493D5E}" srcOrd="0" destOrd="0" presId="urn:microsoft.com/office/officeart/2005/8/layout/pyramid1"/>
    <dgm:cxn modelId="{A0BCF445-F5D1-1B41-9D3D-253CA10CD8EC}" type="presParOf" srcId="{4C6A5A9E-52EB-664C-8E84-0B6237493D5E}" destId="{F18AD3D4-3EBF-6740-A7F5-A34CCB8DAF75}" srcOrd="0" destOrd="0" presId="urn:microsoft.com/office/officeart/2005/8/layout/pyramid1"/>
    <dgm:cxn modelId="{67E35574-273D-7E40-8030-619D24D72EFF}" type="presParOf" srcId="{4C6A5A9E-52EB-664C-8E84-0B6237493D5E}" destId="{6C68EA97-559F-5B4C-BAEF-7523CDE8859F}" srcOrd="1" destOrd="0" presId="urn:microsoft.com/office/officeart/2005/8/layout/pyramid1"/>
    <dgm:cxn modelId="{C4D48264-982B-F94F-905E-93A8BDBDB777}" type="presParOf" srcId="{6ECD5B3B-9384-5444-8A5D-3417A6E94D0F}" destId="{7D8399FB-5995-A348-BEB7-AC598E062549}" srcOrd="1" destOrd="0" presId="urn:microsoft.com/office/officeart/2005/8/layout/pyramid1"/>
    <dgm:cxn modelId="{FEE54F2C-1D91-C147-A432-936938169FC6}" type="presParOf" srcId="{7D8399FB-5995-A348-BEB7-AC598E062549}" destId="{E4AD5763-DCE8-8646-9423-0796D183EB64}" srcOrd="0" destOrd="0" presId="urn:microsoft.com/office/officeart/2005/8/layout/pyramid1"/>
    <dgm:cxn modelId="{6483BC9D-ED3C-F240-BF59-077192B5A631}" type="presParOf" srcId="{7D8399FB-5995-A348-BEB7-AC598E062549}" destId="{AC8E9D14-6819-8F4A-9C5D-059395C22341}" srcOrd="1" destOrd="0" presId="urn:microsoft.com/office/officeart/2005/8/layout/pyramid1"/>
    <dgm:cxn modelId="{0E246D9A-9336-9340-BBFD-C7D726AB2718}" type="presParOf" srcId="{6ECD5B3B-9384-5444-8A5D-3417A6E94D0F}" destId="{9E4AA830-91D0-0541-A272-2817ECCF0C25}" srcOrd="2" destOrd="0" presId="urn:microsoft.com/office/officeart/2005/8/layout/pyramid1"/>
    <dgm:cxn modelId="{C7856B67-25F0-9943-9476-A748DB803868}" type="presParOf" srcId="{9E4AA830-91D0-0541-A272-2817ECCF0C25}" destId="{49A2C099-09E7-5845-9B71-7892FA5F19FA}" srcOrd="0" destOrd="0" presId="urn:microsoft.com/office/officeart/2005/8/layout/pyramid1"/>
    <dgm:cxn modelId="{9D0C15BB-610E-6E4B-AC15-CA023C31375D}" type="presParOf" srcId="{9E4AA830-91D0-0541-A272-2817ECCF0C25}" destId="{3E34D7F9-55F3-AE4B-82A2-173B2B147DA6}" srcOrd="1" destOrd="0" presId="urn:microsoft.com/office/officeart/2005/8/layout/pyramid1"/>
    <dgm:cxn modelId="{039CB13C-FA33-414A-952A-5C5BB0D944CE}" type="presParOf" srcId="{6ECD5B3B-9384-5444-8A5D-3417A6E94D0F}" destId="{3F559EEF-40ED-164D-BA25-7684CFE7966F}" srcOrd="3" destOrd="0" presId="urn:microsoft.com/office/officeart/2005/8/layout/pyramid1"/>
    <dgm:cxn modelId="{C5C9B4C8-0856-2D41-990E-6B86989ECA1A}" type="presParOf" srcId="{3F559EEF-40ED-164D-BA25-7684CFE7966F}" destId="{10773469-3A0F-944C-A64E-5813C95065EA}" srcOrd="0" destOrd="0" presId="urn:microsoft.com/office/officeart/2005/8/layout/pyramid1"/>
    <dgm:cxn modelId="{FAB375E3-A609-7240-98E6-48CE56BBBBD4}" type="presParOf" srcId="{3F559EEF-40ED-164D-BA25-7684CFE7966F}" destId="{FA4DB1DE-A406-3B45-877A-D855E498BDD6}" srcOrd="1" destOrd="0" presId="urn:microsoft.com/office/officeart/2005/8/layout/pyramid1"/>
    <dgm:cxn modelId="{90D54F32-9252-D648-9338-1AFB068038FD}" type="presParOf" srcId="{6ECD5B3B-9384-5444-8A5D-3417A6E94D0F}" destId="{6751D3CF-4B1F-6745-90AB-D68983DE85B9}" srcOrd="4" destOrd="0" presId="urn:microsoft.com/office/officeart/2005/8/layout/pyramid1"/>
    <dgm:cxn modelId="{4777B3F6-D00F-054D-BA89-046D451C66AA}" type="presParOf" srcId="{6751D3CF-4B1F-6745-90AB-D68983DE85B9}" destId="{7D0C00B8-FBB5-E542-BB8C-D7C0963864DD}" srcOrd="0" destOrd="0" presId="urn:microsoft.com/office/officeart/2005/8/layout/pyramid1"/>
    <dgm:cxn modelId="{CCEA2522-52CB-F543-BC4E-25FC3F1C0F70}" type="presParOf" srcId="{6751D3CF-4B1F-6745-90AB-D68983DE85B9}" destId="{7F1E56D0-FCE2-0E43-AE50-B92A1C2A4023}" srcOrd="1" destOrd="0" presId="urn:microsoft.com/office/officeart/2005/8/layout/pyramid1"/>
    <dgm:cxn modelId="{489C8C7A-65A1-A548-8471-CF5535921105}" type="presParOf" srcId="{6ECD5B3B-9384-5444-8A5D-3417A6E94D0F}" destId="{D8AD44FA-A843-7B4C-B095-72629FE63ABF}" srcOrd="5" destOrd="0" presId="urn:microsoft.com/office/officeart/2005/8/layout/pyramid1"/>
    <dgm:cxn modelId="{814440EC-0796-1648-92F5-15EDD6CE0D54}" type="presParOf" srcId="{D8AD44FA-A843-7B4C-B095-72629FE63ABF}" destId="{E0640EEF-CCD0-A143-B7C0-98B8459BB784}" srcOrd="0" destOrd="0" presId="urn:microsoft.com/office/officeart/2005/8/layout/pyramid1"/>
    <dgm:cxn modelId="{EC2BFBA6-342A-5144-96EE-7F0F5746A0FD}" type="presParOf" srcId="{D8AD44FA-A843-7B4C-B095-72629FE63ABF}" destId="{DBA6EBB8-21A0-894A-BA2E-6E7C6406075C}" srcOrd="1" destOrd="0" presId="urn:microsoft.com/office/officeart/2005/8/layout/pyramid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E63B5B2B-F6A6-8441-A576-D26F920DC37F}" type="doc">
      <dgm:prSet loTypeId="urn:microsoft.com/office/officeart/2005/8/layout/pyramid1" loCatId="" qsTypeId="urn:microsoft.com/office/officeart/2005/8/quickstyle/simple4" qsCatId="simple" csTypeId="urn:microsoft.com/office/officeart/2005/8/colors/colorful3" csCatId="colorful" phldr="1"/>
      <dgm:spPr/>
    </dgm:pt>
    <dgm:pt modelId="{7B85411E-E25C-6F42-91E4-53D6A772A7AE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US" sz="1200" dirty="0"/>
            <a:t>Reduction</a:t>
          </a:r>
        </a:p>
      </dgm:t>
    </dgm:pt>
    <dgm:pt modelId="{1F49EEF7-00DB-F24E-ABA1-76F8D1DAA17B}" type="parTrans" cxnId="{F4BD41E2-66AF-FD41-B3E4-D1D9BA0E0489}">
      <dgm:prSet/>
      <dgm:spPr/>
      <dgm:t>
        <a:bodyPr/>
        <a:lstStyle/>
        <a:p>
          <a:endParaRPr lang="en-US" sz="1200"/>
        </a:p>
      </dgm:t>
    </dgm:pt>
    <dgm:pt modelId="{7E267195-F0D2-F446-B54C-EC6424F5757D}" type="sibTrans" cxnId="{F4BD41E2-66AF-FD41-B3E4-D1D9BA0E0489}">
      <dgm:prSet/>
      <dgm:spPr/>
      <dgm:t>
        <a:bodyPr/>
        <a:lstStyle/>
        <a:p>
          <a:endParaRPr lang="en-US" sz="1200"/>
        </a:p>
      </dgm:t>
    </dgm:pt>
    <dgm:pt modelId="{761DA577-FE2E-1D4B-90D0-641EE07F9D88}">
      <dgm:prSet phldrT="[Text]" custT="1"/>
      <dgm:spPr>
        <a:solidFill>
          <a:srgbClr val="FFFF00"/>
        </a:solidFill>
      </dgm:spPr>
      <dgm:t>
        <a:bodyPr/>
        <a:lstStyle/>
        <a:p>
          <a:r>
            <a:rPr lang="en-US" sz="1200" dirty="0"/>
            <a:t>Reuse</a:t>
          </a:r>
        </a:p>
      </dgm:t>
    </dgm:pt>
    <dgm:pt modelId="{233C13BD-E584-CC4A-841F-18ABEF05A60D}" type="parTrans" cxnId="{E81B47A4-8275-714F-AAE4-11DDDFB37008}">
      <dgm:prSet/>
      <dgm:spPr/>
      <dgm:t>
        <a:bodyPr/>
        <a:lstStyle/>
        <a:p>
          <a:endParaRPr lang="en-US" sz="1200"/>
        </a:p>
      </dgm:t>
    </dgm:pt>
    <dgm:pt modelId="{EE783346-9836-534D-84F2-4BD295C9BE78}" type="sibTrans" cxnId="{E81B47A4-8275-714F-AAE4-11DDDFB37008}">
      <dgm:prSet/>
      <dgm:spPr/>
      <dgm:t>
        <a:bodyPr/>
        <a:lstStyle/>
        <a:p>
          <a:endParaRPr lang="en-US" sz="1200"/>
        </a:p>
      </dgm:t>
    </dgm:pt>
    <dgm:pt modelId="{13EE726E-487B-BC42-956A-027D42CABA5C}">
      <dgm:prSet phldrT="[Text]" custT="1"/>
      <dgm:spPr>
        <a:solidFill>
          <a:srgbClr val="FFC000"/>
        </a:solidFill>
      </dgm:spPr>
      <dgm:t>
        <a:bodyPr/>
        <a:lstStyle/>
        <a:p>
          <a:r>
            <a:rPr lang="en-US" sz="1200"/>
            <a:t>Recycling</a:t>
          </a:r>
          <a:endParaRPr lang="en-US" sz="1200" dirty="0"/>
        </a:p>
      </dgm:t>
    </dgm:pt>
    <dgm:pt modelId="{64E3511B-7E49-764F-99C6-260A3CE823FF}" type="parTrans" cxnId="{48C3A3BC-42BB-574B-B352-676F1D08287C}">
      <dgm:prSet/>
      <dgm:spPr/>
      <dgm:t>
        <a:bodyPr/>
        <a:lstStyle/>
        <a:p>
          <a:endParaRPr lang="en-US" sz="1200"/>
        </a:p>
      </dgm:t>
    </dgm:pt>
    <dgm:pt modelId="{730F1F49-C290-164E-95BF-400B875FFE30}" type="sibTrans" cxnId="{48C3A3BC-42BB-574B-B352-676F1D08287C}">
      <dgm:prSet/>
      <dgm:spPr/>
      <dgm:t>
        <a:bodyPr/>
        <a:lstStyle/>
        <a:p>
          <a:endParaRPr lang="en-US" sz="1200"/>
        </a:p>
      </dgm:t>
    </dgm:pt>
    <dgm:pt modelId="{9070CC88-EB24-E342-9919-2FCA608334E5}">
      <dgm:prSet phldrT="[Text]" custT="1"/>
      <dgm:spPr>
        <a:solidFill>
          <a:srgbClr val="FF0000"/>
        </a:solidFill>
      </dgm:spPr>
      <dgm:t>
        <a:bodyPr/>
        <a:lstStyle/>
        <a:p>
          <a:r>
            <a:rPr lang="en-US" sz="1200"/>
            <a:t>Energy recovery</a:t>
          </a:r>
          <a:endParaRPr lang="en-US" sz="1200" dirty="0"/>
        </a:p>
      </dgm:t>
    </dgm:pt>
    <dgm:pt modelId="{30E0EEE2-ED8D-344C-BEF1-43872E0C324F}" type="parTrans" cxnId="{5956DCBB-16F7-5D44-958D-C05DEB8C222C}">
      <dgm:prSet/>
      <dgm:spPr/>
      <dgm:t>
        <a:bodyPr/>
        <a:lstStyle/>
        <a:p>
          <a:endParaRPr lang="en-US" sz="1200"/>
        </a:p>
      </dgm:t>
    </dgm:pt>
    <dgm:pt modelId="{2ECC5143-3180-3C4B-811C-998BB359243F}" type="sibTrans" cxnId="{5956DCBB-16F7-5D44-958D-C05DEB8C222C}">
      <dgm:prSet/>
      <dgm:spPr/>
      <dgm:t>
        <a:bodyPr/>
        <a:lstStyle/>
        <a:p>
          <a:endParaRPr lang="en-US" sz="1200"/>
        </a:p>
      </dgm:t>
    </dgm:pt>
    <dgm:pt modelId="{17F7B346-7E44-884B-B208-34553535058F}">
      <dgm:prSet phldrT="[Text]" custT="1"/>
      <dgm:spPr>
        <a:solidFill>
          <a:srgbClr val="C00000"/>
        </a:solidFill>
      </dgm:spPr>
      <dgm:t>
        <a:bodyPr/>
        <a:lstStyle/>
        <a:p>
          <a:r>
            <a:rPr lang="en-US" sz="1200" dirty="0"/>
            <a:t>Disposal</a:t>
          </a:r>
        </a:p>
      </dgm:t>
    </dgm:pt>
    <dgm:pt modelId="{AE3C9A01-2803-544D-9237-2EC60AD9C246}" type="parTrans" cxnId="{70E05AA2-8852-724A-AC88-971615452AC0}">
      <dgm:prSet/>
      <dgm:spPr/>
      <dgm:t>
        <a:bodyPr/>
        <a:lstStyle/>
        <a:p>
          <a:endParaRPr lang="en-US" sz="1200"/>
        </a:p>
      </dgm:t>
    </dgm:pt>
    <dgm:pt modelId="{E9E48421-DF2E-E243-AFA0-DCCF2D7A210A}" type="sibTrans" cxnId="{70E05AA2-8852-724A-AC88-971615452AC0}">
      <dgm:prSet/>
      <dgm:spPr/>
      <dgm:t>
        <a:bodyPr/>
        <a:lstStyle/>
        <a:p>
          <a:endParaRPr lang="en-US" sz="1200"/>
        </a:p>
      </dgm:t>
    </dgm:pt>
    <dgm:pt modelId="{487C6DDB-16EA-8048-89A6-EBE7F5139E87}">
      <dgm:prSet phldrT="[Text]" custT="1"/>
      <dgm:spPr>
        <a:solidFill>
          <a:schemeClr val="accent6"/>
        </a:solidFill>
      </dgm:spPr>
      <dgm:t>
        <a:bodyPr/>
        <a:lstStyle/>
        <a:p>
          <a:endParaRPr lang="en-US" sz="1200" dirty="0"/>
        </a:p>
      </dgm:t>
    </dgm:pt>
    <dgm:pt modelId="{B187C270-F206-EB47-969D-F237983DA29B}" type="sibTrans" cxnId="{FE5729D9-B480-4043-AF2B-FAAE076BAE54}">
      <dgm:prSet/>
      <dgm:spPr/>
      <dgm:t>
        <a:bodyPr/>
        <a:lstStyle/>
        <a:p>
          <a:endParaRPr lang="en-US" sz="1200"/>
        </a:p>
      </dgm:t>
    </dgm:pt>
    <dgm:pt modelId="{F4C6CB43-A4A1-B344-B75F-5C507D5AB346}" type="parTrans" cxnId="{FE5729D9-B480-4043-AF2B-FAAE076BAE54}">
      <dgm:prSet/>
      <dgm:spPr/>
      <dgm:t>
        <a:bodyPr/>
        <a:lstStyle/>
        <a:p>
          <a:endParaRPr lang="en-US" sz="1200"/>
        </a:p>
      </dgm:t>
    </dgm:pt>
    <dgm:pt modelId="{6ECD5B3B-9384-5444-8A5D-3417A6E94D0F}" type="pres">
      <dgm:prSet presAssocID="{E63B5B2B-F6A6-8441-A576-D26F920DC37F}" presName="Name0" presStyleCnt="0">
        <dgm:presLayoutVars>
          <dgm:dir/>
          <dgm:animLvl val="lvl"/>
          <dgm:resizeHandles val="exact"/>
        </dgm:presLayoutVars>
      </dgm:prSet>
      <dgm:spPr/>
    </dgm:pt>
    <dgm:pt modelId="{4C6A5A9E-52EB-664C-8E84-0B6237493D5E}" type="pres">
      <dgm:prSet presAssocID="{487C6DDB-16EA-8048-89A6-EBE7F5139E87}" presName="Name8" presStyleCnt="0"/>
      <dgm:spPr/>
    </dgm:pt>
    <dgm:pt modelId="{F18AD3D4-3EBF-6740-A7F5-A34CCB8DAF75}" type="pres">
      <dgm:prSet presAssocID="{487C6DDB-16EA-8048-89A6-EBE7F5139E87}" presName="level" presStyleLbl="node1" presStyleIdx="0" presStyleCnt="6" custLinFactNeighborY="0">
        <dgm:presLayoutVars>
          <dgm:chMax val="1"/>
          <dgm:bulletEnabled val="1"/>
        </dgm:presLayoutVars>
      </dgm:prSet>
      <dgm:spPr/>
    </dgm:pt>
    <dgm:pt modelId="{6C68EA97-559F-5B4C-BAEF-7523CDE8859F}" type="pres">
      <dgm:prSet presAssocID="{487C6DDB-16EA-8048-89A6-EBE7F5139E8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D8399FB-5995-A348-BEB7-AC598E062549}" type="pres">
      <dgm:prSet presAssocID="{7B85411E-E25C-6F42-91E4-53D6A772A7AE}" presName="Name8" presStyleCnt="0"/>
      <dgm:spPr/>
    </dgm:pt>
    <dgm:pt modelId="{E4AD5763-DCE8-8646-9423-0796D183EB64}" type="pres">
      <dgm:prSet presAssocID="{7B85411E-E25C-6F42-91E4-53D6A772A7AE}" presName="level" presStyleLbl="node1" presStyleIdx="1" presStyleCnt="6">
        <dgm:presLayoutVars>
          <dgm:chMax val="1"/>
          <dgm:bulletEnabled val="1"/>
        </dgm:presLayoutVars>
      </dgm:prSet>
      <dgm:spPr/>
    </dgm:pt>
    <dgm:pt modelId="{AC8E9D14-6819-8F4A-9C5D-059395C22341}" type="pres">
      <dgm:prSet presAssocID="{7B85411E-E25C-6F42-91E4-53D6A772A7AE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9E4AA830-91D0-0541-A272-2817ECCF0C25}" type="pres">
      <dgm:prSet presAssocID="{761DA577-FE2E-1D4B-90D0-641EE07F9D88}" presName="Name8" presStyleCnt="0"/>
      <dgm:spPr/>
    </dgm:pt>
    <dgm:pt modelId="{49A2C099-09E7-5845-9B71-7892FA5F19FA}" type="pres">
      <dgm:prSet presAssocID="{761DA577-FE2E-1D4B-90D0-641EE07F9D88}" presName="level" presStyleLbl="node1" presStyleIdx="2" presStyleCnt="6">
        <dgm:presLayoutVars>
          <dgm:chMax val="1"/>
          <dgm:bulletEnabled val="1"/>
        </dgm:presLayoutVars>
      </dgm:prSet>
      <dgm:spPr/>
    </dgm:pt>
    <dgm:pt modelId="{3E34D7F9-55F3-AE4B-82A2-173B2B147DA6}" type="pres">
      <dgm:prSet presAssocID="{761DA577-FE2E-1D4B-90D0-641EE07F9D8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3F559EEF-40ED-164D-BA25-7684CFE7966F}" type="pres">
      <dgm:prSet presAssocID="{13EE726E-487B-BC42-956A-027D42CABA5C}" presName="Name8" presStyleCnt="0"/>
      <dgm:spPr/>
    </dgm:pt>
    <dgm:pt modelId="{10773469-3A0F-944C-A64E-5813C95065EA}" type="pres">
      <dgm:prSet presAssocID="{13EE726E-487B-BC42-956A-027D42CABA5C}" presName="level" presStyleLbl="node1" presStyleIdx="3" presStyleCnt="6">
        <dgm:presLayoutVars>
          <dgm:chMax val="1"/>
          <dgm:bulletEnabled val="1"/>
        </dgm:presLayoutVars>
      </dgm:prSet>
      <dgm:spPr/>
    </dgm:pt>
    <dgm:pt modelId="{FA4DB1DE-A406-3B45-877A-D855E498BDD6}" type="pres">
      <dgm:prSet presAssocID="{13EE726E-487B-BC42-956A-027D42CABA5C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751D3CF-4B1F-6745-90AB-D68983DE85B9}" type="pres">
      <dgm:prSet presAssocID="{9070CC88-EB24-E342-9919-2FCA608334E5}" presName="Name8" presStyleCnt="0"/>
      <dgm:spPr/>
    </dgm:pt>
    <dgm:pt modelId="{7D0C00B8-FBB5-E542-BB8C-D7C0963864DD}" type="pres">
      <dgm:prSet presAssocID="{9070CC88-EB24-E342-9919-2FCA608334E5}" presName="level" presStyleLbl="node1" presStyleIdx="4" presStyleCnt="6">
        <dgm:presLayoutVars>
          <dgm:chMax val="1"/>
          <dgm:bulletEnabled val="1"/>
        </dgm:presLayoutVars>
      </dgm:prSet>
      <dgm:spPr/>
    </dgm:pt>
    <dgm:pt modelId="{7F1E56D0-FCE2-0E43-AE50-B92A1C2A4023}" type="pres">
      <dgm:prSet presAssocID="{9070CC88-EB24-E342-9919-2FCA608334E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8AD44FA-A843-7B4C-B095-72629FE63ABF}" type="pres">
      <dgm:prSet presAssocID="{17F7B346-7E44-884B-B208-34553535058F}" presName="Name8" presStyleCnt="0"/>
      <dgm:spPr/>
    </dgm:pt>
    <dgm:pt modelId="{E0640EEF-CCD0-A143-B7C0-98B8459BB784}" type="pres">
      <dgm:prSet presAssocID="{17F7B346-7E44-884B-B208-34553535058F}" presName="level" presStyleLbl="node1" presStyleIdx="5" presStyleCnt="6">
        <dgm:presLayoutVars>
          <dgm:chMax val="1"/>
          <dgm:bulletEnabled val="1"/>
        </dgm:presLayoutVars>
      </dgm:prSet>
      <dgm:spPr/>
    </dgm:pt>
    <dgm:pt modelId="{DBA6EBB8-21A0-894A-BA2E-6E7C6406075C}" type="pres">
      <dgm:prSet presAssocID="{17F7B346-7E44-884B-B208-34553535058F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D256FA1F-3155-6149-9200-843C7A0C4C1E}" type="presOf" srcId="{487C6DDB-16EA-8048-89A6-EBE7F5139E87}" destId="{6C68EA97-559F-5B4C-BAEF-7523CDE8859F}" srcOrd="1" destOrd="0" presId="urn:microsoft.com/office/officeart/2005/8/layout/pyramid1"/>
    <dgm:cxn modelId="{CF21072C-575D-2F4E-93E4-CEDCCDBF386D}" type="presOf" srcId="{17F7B346-7E44-884B-B208-34553535058F}" destId="{E0640EEF-CCD0-A143-B7C0-98B8459BB784}" srcOrd="0" destOrd="0" presId="urn:microsoft.com/office/officeart/2005/8/layout/pyramid1"/>
    <dgm:cxn modelId="{46D4912C-7830-9547-AEDF-D900520E6F1A}" type="presOf" srcId="{13EE726E-487B-BC42-956A-027D42CABA5C}" destId="{FA4DB1DE-A406-3B45-877A-D855E498BDD6}" srcOrd="1" destOrd="0" presId="urn:microsoft.com/office/officeart/2005/8/layout/pyramid1"/>
    <dgm:cxn modelId="{4178185E-9538-0547-98BD-A530CB2F1DAC}" type="presOf" srcId="{13EE726E-487B-BC42-956A-027D42CABA5C}" destId="{10773469-3A0F-944C-A64E-5813C95065EA}" srcOrd="0" destOrd="0" presId="urn:microsoft.com/office/officeart/2005/8/layout/pyramid1"/>
    <dgm:cxn modelId="{9D33C196-5164-CC4F-B1E8-87B97FE06648}" type="presOf" srcId="{E63B5B2B-F6A6-8441-A576-D26F920DC37F}" destId="{6ECD5B3B-9384-5444-8A5D-3417A6E94D0F}" srcOrd="0" destOrd="0" presId="urn:microsoft.com/office/officeart/2005/8/layout/pyramid1"/>
    <dgm:cxn modelId="{CC249697-8844-2B42-88A9-22A59EC37AA4}" type="presOf" srcId="{7B85411E-E25C-6F42-91E4-53D6A772A7AE}" destId="{AC8E9D14-6819-8F4A-9C5D-059395C22341}" srcOrd="1" destOrd="0" presId="urn:microsoft.com/office/officeart/2005/8/layout/pyramid1"/>
    <dgm:cxn modelId="{70E05AA2-8852-724A-AC88-971615452AC0}" srcId="{E63B5B2B-F6A6-8441-A576-D26F920DC37F}" destId="{17F7B346-7E44-884B-B208-34553535058F}" srcOrd="5" destOrd="0" parTransId="{AE3C9A01-2803-544D-9237-2EC60AD9C246}" sibTransId="{E9E48421-DF2E-E243-AFA0-DCCF2D7A210A}"/>
    <dgm:cxn modelId="{E81B47A4-8275-714F-AAE4-11DDDFB37008}" srcId="{E63B5B2B-F6A6-8441-A576-D26F920DC37F}" destId="{761DA577-FE2E-1D4B-90D0-641EE07F9D88}" srcOrd="2" destOrd="0" parTransId="{233C13BD-E584-CC4A-841F-18ABEF05A60D}" sibTransId="{EE783346-9836-534D-84F2-4BD295C9BE78}"/>
    <dgm:cxn modelId="{394BB1A5-A348-6741-B1D1-1511E3546EEE}" type="presOf" srcId="{17F7B346-7E44-884B-B208-34553535058F}" destId="{DBA6EBB8-21A0-894A-BA2E-6E7C6406075C}" srcOrd="1" destOrd="0" presId="urn:microsoft.com/office/officeart/2005/8/layout/pyramid1"/>
    <dgm:cxn modelId="{48E423AD-18E3-5449-9DDC-353EF8464CCD}" type="presOf" srcId="{761DA577-FE2E-1D4B-90D0-641EE07F9D88}" destId="{49A2C099-09E7-5845-9B71-7892FA5F19FA}" srcOrd="0" destOrd="0" presId="urn:microsoft.com/office/officeart/2005/8/layout/pyramid1"/>
    <dgm:cxn modelId="{07103FB3-B31A-4949-B1AE-90FA3DB140AF}" type="presOf" srcId="{9070CC88-EB24-E342-9919-2FCA608334E5}" destId="{7D0C00B8-FBB5-E542-BB8C-D7C0963864DD}" srcOrd="0" destOrd="0" presId="urn:microsoft.com/office/officeart/2005/8/layout/pyramid1"/>
    <dgm:cxn modelId="{40220FB7-89F5-F447-AFAC-4208393A193C}" type="presOf" srcId="{761DA577-FE2E-1D4B-90D0-641EE07F9D88}" destId="{3E34D7F9-55F3-AE4B-82A2-173B2B147DA6}" srcOrd="1" destOrd="0" presId="urn:microsoft.com/office/officeart/2005/8/layout/pyramid1"/>
    <dgm:cxn modelId="{5956DCBB-16F7-5D44-958D-C05DEB8C222C}" srcId="{E63B5B2B-F6A6-8441-A576-D26F920DC37F}" destId="{9070CC88-EB24-E342-9919-2FCA608334E5}" srcOrd="4" destOrd="0" parTransId="{30E0EEE2-ED8D-344C-BEF1-43872E0C324F}" sibTransId="{2ECC5143-3180-3C4B-811C-998BB359243F}"/>
    <dgm:cxn modelId="{53F322BC-37DA-7D4A-9153-7D7FAE8A4959}" type="presOf" srcId="{487C6DDB-16EA-8048-89A6-EBE7F5139E87}" destId="{F18AD3D4-3EBF-6740-A7F5-A34CCB8DAF75}" srcOrd="0" destOrd="0" presId="urn:microsoft.com/office/officeart/2005/8/layout/pyramid1"/>
    <dgm:cxn modelId="{48C3A3BC-42BB-574B-B352-676F1D08287C}" srcId="{E63B5B2B-F6A6-8441-A576-D26F920DC37F}" destId="{13EE726E-487B-BC42-956A-027D42CABA5C}" srcOrd="3" destOrd="0" parTransId="{64E3511B-7E49-764F-99C6-260A3CE823FF}" sibTransId="{730F1F49-C290-164E-95BF-400B875FFE30}"/>
    <dgm:cxn modelId="{75B68CD2-F4CE-984E-AF23-770AB3E12A04}" type="presOf" srcId="{7B85411E-E25C-6F42-91E4-53D6A772A7AE}" destId="{E4AD5763-DCE8-8646-9423-0796D183EB64}" srcOrd="0" destOrd="0" presId="urn:microsoft.com/office/officeart/2005/8/layout/pyramid1"/>
    <dgm:cxn modelId="{FE5729D9-B480-4043-AF2B-FAAE076BAE54}" srcId="{E63B5B2B-F6A6-8441-A576-D26F920DC37F}" destId="{487C6DDB-16EA-8048-89A6-EBE7F5139E87}" srcOrd="0" destOrd="0" parTransId="{F4C6CB43-A4A1-B344-B75F-5C507D5AB346}" sibTransId="{B187C270-F206-EB47-969D-F237983DA29B}"/>
    <dgm:cxn modelId="{0F38DDDB-4936-6642-B107-CD0B73EB4D34}" type="presOf" srcId="{9070CC88-EB24-E342-9919-2FCA608334E5}" destId="{7F1E56D0-FCE2-0E43-AE50-B92A1C2A4023}" srcOrd="1" destOrd="0" presId="urn:microsoft.com/office/officeart/2005/8/layout/pyramid1"/>
    <dgm:cxn modelId="{F4BD41E2-66AF-FD41-B3E4-D1D9BA0E0489}" srcId="{E63B5B2B-F6A6-8441-A576-D26F920DC37F}" destId="{7B85411E-E25C-6F42-91E4-53D6A772A7AE}" srcOrd="1" destOrd="0" parTransId="{1F49EEF7-00DB-F24E-ABA1-76F8D1DAA17B}" sibTransId="{7E267195-F0D2-F446-B54C-EC6424F5757D}"/>
    <dgm:cxn modelId="{FECBA123-C91B-8B4D-BF4C-FB439FA2C695}" type="presParOf" srcId="{6ECD5B3B-9384-5444-8A5D-3417A6E94D0F}" destId="{4C6A5A9E-52EB-664C-8E84-0B6237493D5E}" srcOrd="0" destOrd="0" presId="urn:microsoft.com/office/officeart/2005/8/layout/pyramid1"/>
    <dgm:cxn modelId="{A0BCF445-F5D1-1B41-9D3D-253CA10CD8EC}" type="presParOf" srcId="{4C6A5A9E-52EB-664C-8E84-0B6237493D5E}" destId="{F18AD3D4-3EBF-6740-A7F5-A34CCB8DAF75}" srcOrd="0" destOrd="0" presId="urn:microsoft.com/office/officeart/2005/8/layout/pyramid1"/>
    <dgm:cxn modelId="{67E35574-273D-7E40-8030-619D24D72EFF}" type="presParOf" srcId="{4C6A5A9E-52EB-664C-8E84-0B6237493D5E}" destId="{6C68EA97-559F-5B4C-BAEF-7523CDE8859F}" srcOrd="1" destOrd="0" presId="urn:microsoft.com/office/officeart/2005/8/layout/pyramid1"/>
    <dgm:cxn modelId="{C4D48264-982B-F94F-905E-93A8BDBDB777}" type="presParOf" srcId="{6ECD5B3B-9384-5444-8A5D-3417A6E94D0F}" destId="{7D8399FB-5995-A348-BEB7-AC598E062549}" srcOrd="1" destOrd="0" presId="urn:microsoft.com/office/officeart/2005/8/layout/pyramid1"/>
    <dgm:cxn modelId="{FEE54F2C-1D91-C147-A432-936938169FC6}" type="presParOf" srcId="{7D8399FB-5995-A348-BEB7-AC598E062549}" destId="{E4AD5763-DCE8-8646-9423-0796D183EB64}" srcOrd="0" destOrd="0" presId="urn:microsoft.com/office/officeart/2005/8/layout/pyramid1"/>
    <dgm:cxn modelId="{6483BC9D-ED3C-F240-BF59-077192B5A631}" type="presParOf" srcId="{7D8399FB-5995-A348-BEB7-AC598E062549}" destId="{AC8E9D14-6819-8F4A-9C5D-059395C22341}" srcOrd="1" destOrd="0" presId="urn:microsoft.com/office/officeart/2005/8/layout/pyramid1"/>
    <dgm:cxn modelId="{0E246D9A-9336-9340-BBFD-C7D726AB2718}" type="presParOf" srcId="{6ECD5B3B-9384-5444-8A5D-3417A6E94D0F}" destId="{9E4AA830-91D0-0541-A272-2817ECCF0C25}" srcOrd="2" destOrd="0" presId="urn:microsoft.com/office/officeart/2005/8/layout/pyramid1"/>
    <dgm:cxn modelId="{C7856B67-25F0-9943-9476-A748DB803868}" type="presParOf" srcId="{9E4AA830-91D0-0541-A272-2817ECCF0C25}" destId="{49A2C099-09E7-5845-9B71-7892FA5F19FA}" srcOrd="0" destOrd="0" presId="urn:microsoft.com/office/officeart/2005/8/layout/pyramid1"/>
    <dgm:cxn modelId="{9D0C15BB-610E-6E4B-AC15-CA023C31375D}" type="presParOf" srcId="{9E4AA830-91D0-0541-A272-2817ECCF0C25}" destId="{3E34D7F9-55F3-AE4B-82A2-173B2B147DA6}" srcOrd="1" destOrd="0" presId="urn:microsoft.com/office/officeart/2005/8/layout/pyramid1"/>
    <dgm:cxn modelId="{039CB13C-FA33-414A-952A-5C5BB0D944CE}" type="presParOf" srcId="{6ECD5B3B-9384-5444-8A5D-3417A6E94D0F}" destId="{3F559EEF-40ED-164D-BA25-7684CFE7966F}" srcOrd="3" destOrd="0" presId="urn:microsoft.com/office/officeart/2005/8/layout/pyramid1"/>
    <dgm:cxn modelId="{C5C9B4C8-0856-2D41-990E-6B86989ECA1A}" type="presParOf" srcId="{3F559EEF-40ED-164D-BA25-7684CFE7966F}" destId="{10773469-3A0F-944C-A64E-5813C95065EA}" srcOrd="0" destOrd="0" presId="urn:microsoft.com/office/officeart/2005/8/layout/pyramid1"/>
    <dgm:cxn modelId="{FAB375E3-A609-7240-98E6-48CE56BBBBD4}" type="presParOf" srcId="{3F559EEF-40ED-164D-BA25-7684CFE7966F}" destId="{FA4DB1DE-A406-3B45-877A-D855E498BDD6}" srcOrd="1" destOrd="0" presId="urn:microsoft.com/office/officeart/2005/8/layout/pyramid1"/>
    <dgm:cxn modelId="{90D54F32-9252-D648-9338-1AFB068038FD}" type="presParOf" srcId="{6ECD5B3B-9384-5444-8A5D-3417A6E94D0F}" destId="{6751D3CF-4B1F-6745-90AB-D68983DE85B9}" srcOrd="4" destOrd="0" presId="urn:microsoft.com/office/officeart/2005/8/layout/pyramid1"/>
    <dgm:cxn modelId="{4777B3F6-D00F-054D-BA89-046D451C66AA}" type="presParOf" srcId="{6751D3CF-4B1F-6745-90AB-D68983DE85B9}" destId="{7D0C00B8-FBB5-E542-BB8C-D7C0963864DD}" srcOrd="0" destOrd="0" presId="urn:microsoft.com/office/officeart/2005/8/layout/pyramid1"/>
    <dgm:cxn modelId="{CCEA2522-52CB-F543-BC4E-25FC3F1C0F70}" type="presParOf" srcId="{6751D3CF-4B1F-6745-90AB-D68983DE85B9}" destId="{7F1E56D0-FCE2-0E43-AE50-B92A1C2A4023}" srcOrd="1" destOrd="0" presId="urn:microsoft.com/office/officeart/2005/8/layout/pyramid1"/>
    <dgm:cxn modelId="{489C8C7A-65A1-A548-8471-CF5535921105}" type="presParOf" srcId="{6ECD5B3B-9384-5444-8A5D-3417A6E94D0F}" destId="{D8AD44FA-A843-7B4C-B095-72629FE63ABF}" srcOrd="5" destOrd="0" presId="urn:microsoft.com/office/officeart/2005/8/layout/pyramid1"/>
    <dgm:cxn modelId="{814440EC-0796-1648-92F5-15EDD6CE0D54}" type="presParOf" srcId="{D8AD44FA-A843-7B4C-B095-72629FE63ABF}" destId="{E0640EEF-CCD0-A143-B7C0-98B8459BB784}" srcOrd="0" destOrd="0" presId="urn:microsoft.com/office/officeart/2005/8/layout/pyramid1"/>
    <dgm:cxn modelId="{EC2BFBA6-342A-5144-96EE-7F0F5746A0FD}" type="presParOf" srcId="{D8AD44FA-A843-7B4C-B095-72629FE63ABF}" destId="{DBA6EBB8-21A0-894A-BA2E-6E7C6406075C}" srcOrd="1" destOrd="0" presId="urn:microsoft.com/office/officeart/2005/8/layout/pyramid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E63B5B2B-F6A6-8441-A576-D26F920DC37F}" type="doc">
      <dgm:prSet loTypeId="urn:microsoft.com/office/officeart/2005/8/layout/pyramid1" loCatId="" qsTypeId="urn:microsoft.com/office/officeart/2005/8/quickstyle/simple4" qsCatId="simple" csTypeId="urn:microsoft.com/office/officeart/2005/8/colors/colorful3" csCatId="colorful" phldr="1"/>
      <dgm:spPr/>
    </dgm:pt>
    <dgm:pt modelId="{7B85411E-E25C-6F42-91E4-53D6A772A7AE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US" sz="1200" dirty="0"/>
            <a:t>Reduction</a:t>
          </a:r>
        </a:p>
      </dgm:t>
    </dgm:pt>
    <dgm:pt modelId="{1F49EEF7-00DB-F24E-ABA1-76F8D1DAA17B}" type="parTrans" cxnId="{F4BD41E2-66AF-FD41-B3E4-D1D9BA0E0489}">
      <dgm:prSet/>
      <dgm:spPr/>
      <dgm:t>
        <a:bodyPr/>
        <a:lstStyle/>
        <a:p>
          <a:endParaRPr lang="en-US" sz="1200"/>
        </a:p>
      </dgm:t>
    </dgm:pt>
    <dgm:pt modelId="{7E267195-F0D2-F446-B54C-EC6424F5757D}" type="sibTrans" cxnId="{F4BD41E2-66AF-FD41-B3E4-D1D9BA0E0489}">
      <dgm:prSet/>
      <dgm:spPr/>
      <dgm:t>
        <a:bodyPr/>
        <a:lstStyle/>
        <a:p>
          <a:endParaRPr lang="en-US" sz="1200"/>
        </a:p>
      </dgm:t>
    </dgm:pt>
    <dgm:pt modelId="{761DA577-FE2E-1D4B-90D0-641EE07F9D88}">
      <dgm:prSet phldrT="[Text]" custT="1"/>
      <dgm:spPr>
        <a:solidFill>
          <a:srgbClr val="FFFF00"/>
        </a:solidFill>
      </dgm:spPr>
      <dgm:t>
        <a:bodyPr/>
        <a:lstStyle/>
        <a:p>
          <a:r>
            <a:rPr lang="en-US" sz="1200" dirty="0"/>
            <a:t>Reuse</a:t>
          </a:r>
        </a:p>
      </dgm:t>
    </dgm:pt>
    <dgm:pt modelId="{233C13BD-E584-CC4A-841F-18ABEF05A60D}" type="parTrans" cxnId="{E81B47A4-8275-714F-AAE4-11DDDFB37008}">
      <dgm:prSet/>
      <dgm:spPr/>
      <dgm:t>
        <a:bodyPr/>
        <a:lstStyle/>
        <a:p>
          <a:endParaRPr lang="en-US" sz="1200"/>
        </a:p>
      </dgm:t>
    </dgm:pt>
    <dgm:pt modelId="{EE783346-9836-534D-84F2-4BD295C9BE78}" type="sibTrans" cxnId="{E81B47A4-8275-714F-AAE4-11DDDFB37008}">
      <dgm:prSet/>
      <dgm:spPr/>
      <dgm:t>
        <a:bodyPr/>
        <a:lstStyle/>
        <a:p>
          <a:endParaRPr lang="en-US" sz="1200"/>
        </a:p>
      </dgm:t>
    </dgm:pt>
    <dgm:pt modelId="{13EE726E-487B-BC42-956A-027D42CABA5C}">
      <dgm:prSet phldrT="[Text]" custT="1"/>
      <dgm:spPr>
        <a:solidFill>
          <a:srgbClr val="FFC000"/>
        </a:solidFill>
      </dgm:spPr>
      <dgm:t>
        <a:bodyPr/>
        <a:lstStyle/>
        <a:p>
          <a:r>
            <a:rPr lang="en-US" sz="1200"/>
            <a:t>Recycling</a:t>
          </a:r>
          <a:endParaRPr lang="en-US" sz="1200" dirty="0"/>
        </a:p>
      </dgm:t>
    </dgm:pt>
    <dgm:pt modelId="{64E3511B-7E49-764F-99C6-260A3CE823FF}" type="parTrans" cxnId="{48C3A3BC-42BB-574B-B352-676F1D08287C}">
      <dgm:prSet/>
      <dgm:spPr/>
      <dgm:t>
        <a:bodyPr/>
        <a:lstStyle/>
        <a:p>
          <a:endParaRPr lang="en-US" sz="1200"/>
        </a:p>
      </dgm:t>
    </dgm:pt>
    <dgm:pt modelId="{730F1F49-C290-164E-95BF-400B875FFE30}" type="sibTrans" cxnId="{48C3A3BC-42BB-574B-B352-676F1D08287C}">
      <dgm:prSet/>
      <dgm:spPr/>
      <dgm:t>
        <a:bodyPr/>
        <a:lstStyle/>
        <a:p>
          <a:endParaRPr lang="en-US" sz="1200"/>
        </a:p>
      </dgm:t>
    </dgm:pt>
    <dgm:pt modelId="{9070CC88-EB24-E342-9919-2FCA608334E5}">
      <dgm:prSet phldrT="[Text]" custT="1"/>
      <dgm:spPr>
        <a:solidFill>
          <a:srgbClr val="FF0000"/>
        </a:solidFill>
      </dgm:spPr>
      <dgm:t>
        <a:bodyPr/>
        <a:lstStyle/>
        <a:p>
          <a:r>
            <a:rPr lang="en-US" sz="1200"/>
            <a:t>Energy recovery</a:t>
          </a:r>
          <a:endParaRPr lang="en-US" sz="1200" dirty="0"/>
        </a:p>
      </dgm:t>
    </dgm:pt>
    <dgm:pt modelId="{30E0EEE2-ED8D-344C-BEF1-43872E0C324F}" type="parTrans" cxnId="{5956DCBB-16F7-5D44-958D-C05DEB8C222C}">
      <dgm:prSet/>
      <dgm:spPr/>
      <dgm:t>
        <a:bodyPr/>
        <a:lstStyle/>
        <a:p>
          <a:endParaRPr lang="en-US" sz="1200"/>
        </a:p>
      </dgm:t>
    </dgm:pt>
    <dgm:pt modelId="{2ECC5143-3180-3C4B-811C-998BB359243F}" type="sibTrans" cxnId="{5956DCBB-16F7-5D44-958D-C05DEB8C222C}">
      <dgm:prSet/>
      <dgm:spPr/>
      <dgm:t>
        <a:bodyPr/>
        <a:lstStyle/>
        <a:p>
          <a:endParaRPr lang="en-US" sz="1200"/>
        </a:p>
      </dgm:t>
    </dgm:pt>
    <dgm:pt modelId="{17F7B346-7E44-884B-B208-34553535058F}">
      <dgm:prSet phldrT="[Text]" custT="1"/>
      <dgm:spPr>
        <a:solidFill>
          <a:srgbClr val="C00000"/>
        </a:solidFill>
      </dgm:spPr>
      <dgm:t>
        <a:bodyPr/>
        <a:lstStyle/>
        <a:p>
          <a:r>
            <a:rPr lang="en-US" sz="1200" dirty="0"/>
            <a:t>Disposal</a:t>
          </a:r>
        </a:p>
      </dgm:t>
    </dgm:pt>
    <dgm:pt modelId="{AE3C9A01-2803-544D-9237-2EC60AD9C246}" type="parTrans" cxnId="{70E05AA2-8852-724A-AC88-971615452AC0}">
      <dgm:prSet/>
      <dgm:spPr/>
      <dgm:t>
        <a:bodyPr/>
        <a:lstStyle/>
        <a:p>
          <a:endParaRPr lang="en-US" sz="1200"/>
        </a:p>
      </dgm:t>
    </dgm:pt>
    <dgm:pt modelId="{E9E48421-DF2E-E243-AFA0-DCCF2D7A210A}" type="sibTrans" cxnId="{70E05AA2-8852-724A-AC88-971615452AC0}">
      <dgm:prSet/>
      <dgm:spPr/>
      <dgm:t>
        <a:bodyPr/>
        <a:lstStyle/>
        <a:p>
          <a:endParaRPr lang="en-US" sz="1200"/>
        </a:p>
      </dgm:t>
    </dgm:pt>
    <dgm:pt modelId="{487C6DDB-16EA-8048-89A6-EBE7F5139E87}">
      <dgm:prSet phldrT="[Text]" custT="1"/>
      <dgm:spPr>
        <a:solidFill>
          <a:schemeClr val="accent6"/>
        </a:solidFill>
      </dgm:spPr>
      <dgm:t>
        <a:bodyPr/>
        <a:lstStyle/>
        <a:p>
          <a:endParaRPr lang="en-US" sz="1200" dirty="0"/>
        </a:p>
      </dgm:t>
    </dgm:pt>
    <dgm:pt modelId="{B187C270-F206-EB47-969D-F237983DA29B}" type="sibTrans" cxnId="{FE5729D9-B480-4043-AF2B-FAAE076BAE54}">
      <dgm:prSet/>
      <dgm:spPr/>
      <dgm:t>
        <a:bodyPr/>
        <a:lstStyle/>
        <a:p>
          <a:endParaRPr lang="en-US" sz="1200"/>
        </a:p>
      </dgm:t>
    </dgm:pt>
    <dgm:pt modelId="{F4C6CB43-A4A1-B344-B75F-5C507D5AB346}" type="parTrans" cxnId="{FE5729D9-B480-4043-AF2B-FAAE076BAE54}">
      <dgm:prSet/>
      <dgm:spPr/>
      <dgm:t>
        <a:bodyPr/>
        <a:lstStyle/>
        <a:p>
          <a:endParaRPr lang="en-US" sz="1200"/>
        </a:p>
      </dgm:t>
    </dgm:pt>
    <dgm:pt modelId="{6ECD5B3B-9384-5444-8A5D-3417A6E94D0F}" type="pres">
      <dgm:prSet presAssocID="{E63B5B2B-F6A6-8441-A576-D26F920DC37F}" presName="Name0" presStyleCnt="0">
        <dgm:presLayoutVars>
          <dgm:dir/>
          <dgm:animLvl val="lvl"/>
          <dgm:resizeHandles val="exact"/>
        </dgm:presLayoutVars>
      </dgm:prSet>
      <dgm:spPr/>
    </dgm:pt>
    <dgm:pt modelId="{4C6A5A9E-52EB-664C-8E84-0B6237493D5E}" type="pres">
      <dgm:prSet presAssocID="{487C6DDB-16EA-8048-89A6-EBE7F5139E87}" presName="Name8" presStyleCnt="0"/>
      <dgm:spPr/>
    </dgm:pt>
    <dgm:pt modelId="{F18AD3D4-3EBF-6740-A7F5-A34CCB8DAF75}" type="pres">
      <dgm:prSet presAssocID="{487C6DDB-16EA-8048-89A6-EBE7F5139E87}" presName="level" presStyleLbl="node1" presStyleIdx="0" presStyleCnt="6" custLinFactNeighborY="0">
        <dgm:presLayoutVars>
          <dgm:chMax val="1"/>
          <dgm:bulletEnabled val="1"/>
        </dgm:presLayoutVars>
      </dgm:prSet>
      <dgm:spPr/>
    </dgm:pt>
    <dgm:pt modelId="{6C68EA97-559F-5B4C-BAEF-7523CDE8859F}" type="pres">
      <dgm:prSet presAssocID="{487C6DDB-16EA-8048-89A6-EBE7F5139E8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D8399FB-5995-A348-BEB7-AC598E062549}" type="pres">
      <dgm:prSet presAssocID="{7B85411E-E25C-6F42-91E4-53D6A772A7AE}" presName="Name8" presStyleCnt="0"/>
      <dgm:spPr/>
    </dgm:pt>
    <dgm:pt modelId="{E4AD5763-DCE8-8646-9423-0796D183EB64}" type="pres">
      <dgm:prSet presAssocID="{7B85411E-E25C-6F42-91E4-53D6A772A7AE}" presName="level" presStyleLbl="node1" presStyleIdx="1" presStyleCnt="6">
        <dgm:presLayoutVars>
          <dgm:chMax val="1"/>
          <dgm:bulletEnabled val="1"/>
        </dgm:presLayoutVars>
      </dgm:prSet>
      <dgm:spPr/>
    </dgm:pt>
    <dgm:pt modelId="{AC8E9D14-6819-8F4A-9C5D-059395C22341}" type="pres">
      <dgm:prSet presAssocID="{7B85411E-E25C-6F42-91E4-53D6A772A7AE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9E4AA830-91D0-0541-A272-2817ECCF0C25}" type="pres">
      <dgm:prSet presAssocID="{761DA577-FE2E-1D4B-90D0-641EE07F9D88}" presName="Name8" presStyleCnt="0"/>
      <dgm:spPr/>
    </dgm:pt>
    <dgm:pt modelId="{49A2C099-09E7-5845-9B71-7892FA5F19FA}" type="pres">
      <dgm:prSet presAssocID="{761DA577-FE2E-1D4B-90D0-641EE07F9D88}" presName="level" presStyleLbl="node1" presStyleIdx="2" presStyleCnt="6">
        <dgm:presLayoutVars>
          <dgm:chMax val="1"/>
          <dgm:bulletEnabled val="1"/>
        </dgm:presLayoutVars>
      </dgm:prSet>
      <dgm:spPr/>
    </dgm:pt>
    <dgm:pt modelId="{3E34D7F9-55F3-AE4B-82A2-173B2B147DA6}" type="pres">
      <dgm:prSet presAssocID="{761DA577-FE2E-1D4B-90D0-641EE07F9D8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3F559EEF-40ED-164D-BA25-7684CFE7966F}" type="pres">
      <dgm:prSet presAssocID="{13EE726E-487B-BC42-956A-027D42CABA5C}" presName="Name8" presStyleCnt="0"/>
      <dgm:spPr/>
    </dgm:pt>
    <dgm:pt modelId="{10773469-3A0F-944C-A64E-5813C95065EA}" type="pres">
      <dgm:prSet presAssocID="{13EE726E-487B-BC42-956A-027D42CABA5C}" presName="level" presStyleLbl="node1" presStyleIdx="3" presStyleCnt="6">
        <dgm:presLayoutVars>
          <dgm:chMax val="1"/>
          <dgm:bulletEnabled val="1"/>
        </dgm:presLayoutVars>
      </dgm:prSet>
      <dgm:spPr/>
    </dgm:pt>
    <dgm:pt modelId="{FA4DB1DE-A406-3B45-877A-D855E498BDD6}" type="pres">
      <dgm:prSet presAssocID="{13EE726E-487B-BC42-956A-027D42CABA5C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751D3CF-4B1F-6745-90AB-D68983DE85B9}" type="pres">
      <dgm:prSet presAssocID="{9070CC88-EB24-E342-9919-2FCA608334E5}" presName="Name8" presStyleCnt="0"/>
      <dgm:spPr/>
    </dgm:pt>
    <dgm:pt modelId="{7D0C00B8-FBB5-E542-BB8C-D7C0963864DD}" type="pres">
      <dgm:prSet presAssocID="{9070CC88-EB24-E342-9919-2FCA608334E5}" presName="level" presStyleLbl="node1" presStyleIdx="4" presStyleCnt="6">
        <dgm:presLayoutVars>
          <dgm:chMax val="1"/>
          <dgm:bulletEnabled val="1"/>
        </dgm:presLayoutVars>
      </dgm:prSet>
      <dgm:spPr/>
    </dgm:pt>
    <dgm:pt modelId="{7F1E56D0-FCE2-0E43-AE50-B92A1C2A4023}" type="pres">
      <dgm:prSet presAssocID="{9070CC88-EB24-E342-9919-2FCA608334E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8AD44FA-A843-7B4C-B095-72629FE63ABF}" type="pres">
      <dgm:prSet presAssocID="{17F7B346-7E44-884B-B208-34553535058F}" presName="Name8" presStyleCnt="0"/>
      <dgm:spPr/>
    </dgm:pt>
    <dgm:pt modelId="{E0640EEF-CCD0-A143-B7C0-98B8459BB784}" type="pres">
      <dgm:prSet presAssocID="{17F7B346-7E44-884B-B208-34553535058F}" presName="level" presStyleLbl="node1" presStyleIdx="5" presStyleCnt="6">
        <dgm:presLayoutVars>
          <dgm:chMax val="1"/>
          <dgm:bulletEnabled val="1"/>
        </dgm:presLayoutVars>
      </dgm:prSet>
      <dgm:spPr/>
    </dgm:pt>
    <dgm:pt modelId="{DBA6EBB8-21A0-894A-BA2E-6E7C6406075C}" type="pres">
      <dgm:prSet presAssocID="{17F7B346-7E44-884B-B208-34553535058F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D256FA1F-3155-6149-9200-843C7A0C4C1E}" type="presOf" srcId="{487C6DDB-16EA-8048-89A6-EBE7F5139E87}" destId="{6C68EA97-559F-5B4C-BAEF-7523CDE8859F}" srcOrd="1" destOrd="0" presId="urn:microsoft.com/office/officeart/2005/8/layout/pyramid1"/>
    <dgm:cxn modelId="{CF21072C-575D-2F4E-93E4-CEDCCDBF386D}" type="presOf" srcId="{17F7B346-7E44-884B-B208-34553535058F}" destId="{E0640EEF-CCD0-A143-B7C0-98B8459BB784}" srcOrd="0" destOrd="0" presId="urn:microsoft.com/office/officeart/2005/8/layout/pyramid1"/>
    <dgm:cxn modelId="{46D4912C-7830-9547-AEDF-D900520E6F1A}" type="presOf" srcId="{13EE726E-487B-BC42-956A-027D42CABA5C}" destId="{FA4DB1DE-A406-3B45-877A-D855E498BDD6}" srcOrd="1" destOrd="0" presId="urn:microsoft.com/office/officeart/2005/8/layout/pyramid1"/>
    <dgm:cxn modelId="{4178185E-9538-0547-98BD-A530CB2F1DAC}" type="presOf" srcId="{13EE726E-487B-BC42-956A-027D42CABA5C}" destId="{10773469-3A0F-944C-A64E-5813C95065EA}" srcOrd="0" destOrd="0" presId="urn:microsoft.com/office/officeart/2005/8/layout/pyramid1"/>
    <dgm:cxn modelId="{9D33C196-5164-CC4F-B1E8-87B97FE06648}" type="presOf" srcId="{E63B5B2B-F6A6-8441-A576-D26F920DC37F}" destId="{6ECD5B3B-9384-5444-8A5D-3417A6E94D0F}" srcOrd="0" destOrd="0" presId="urn:microsoft.com/office/officeart/2005/8/layout/pyramid1"/>
    <dgm:cxn modelId="{CC249697-8844-2B42-88A9-22A59EC37AA4}" type="presOf" srcId="{7B85411E-E25C-6F42-91E4-53D6A772A7AE}" destId="{AC8E9D14-6819-8F4A-9C5D-059395C22341}" srcOrd="1" destOrd="0" presId="urn:microsoft.com/office/officeart/2005/8/layout/pyramid1"/>
    <dgm:cxn modelId="{70E05AA2-8852-724A-AC88-971615452AC0}" srcId="{E63B5B2B-F6A6-8441-A576-D26F920DC37F}" destId="{17F7B346-7E44-884B-B208-34553535058F}" srcOrd="5" destOrd="0" parTransId="{AE3C9A01-2803-544D-9237-2EC60AD9C246}" sibTransId="{E9E48421-DF2E-E243-AFA0-DCCF2D7A210A}"/>
    <dgm:cxn modelId="{E81B47A4-8275-714F-AAE4-11DDDFB37008}" srcId="{E63B5B2B-F6A6-8441-A576-D26F920DC37F}" destId="{761DA577-FE2E-1D4B-90D0-641EE07F9D88}" srcOrd="2" destOrd="0" parTransId="{233C13BD-E584-CC4A-841F-18ABEF05A60D}" sibTransId="{EE783346-9836-534D-84F2-4BD295C9BE78}"/>
    <dgm:cxn modelId="{394BB1A5-A348-6741-B1D1-1511E3546EEE}" type="presOf" srcId="{17F7B346-7E44-884B-B208-34553535058F}" destId="{DBA6EBB8-21A0-894A-BA2E-6E7C6406075C}" srcOrd="1" destOrd="0" presId="urn:microsoft.com/office/officeart/2005/8/layout/pyramid1"/>
    <dgm:cxn modelId="{48E423AD-18E3-5449-9DDC-353EF8464CCD}" type="presOf" srcId="{761DA577-FE2E-1D4B-90D0-641EE07F9D88}" destId="{49A2C099-09E7-5845-9B71-7892FA5F19FA}" srcOrd="0" destOrd="0" presId="urn:microsoft.com/office/officeart/2005/8/layout/pyramid1"/>
    <dgm:cxn modelId="{07103FB3-B31A-4949-B1AE-90FA3DB140AF}" type="presOf" srcId="{9070CC88-EB24-E342-9919-2FCA608334E5}" destId="{7D0C00B8-FBB5-E542-BB8C-D7C0963864DD}" srcOrd="0" destOrd="0" presId="urn:microsoft.com/office/officeart/2005/8/layout/pyramid1"/>
    <dgm:cxn modelId="{40220FB7-89F5-F447-AFAC-4208393A193C}" type="presOf" srcId="{761DA577-FE2E-1D4B-90D0-641EE07F9D88}" destId="{3E34D7F9-55F3-AE4B-82A2-173B2B147DA6}" srcOrd="1" destOrd="0" presId="urn:microsoft.com/office/officeart/2005/8/layout/pyramid1"/>
    <dgm:cxn modelId="{5956DCBB-16F7-5D44-958D-C05DEB8C222C}" srcId="{E63B5B2B-F6A6-8441-A576-D26F920DC37F}" destId="{9070CC88-EB24-E342-9919-2FCA608334E5}" srcOrd="4" destOrd="0" parTransId="{30E0EEE2-ED8D-344C-BEF1-43872E0C324F}" sibTransId="{2ECC5143-3180-3C4B-811C-998BB359243F}"/>
    <dgm:cxn modelId="{53F322BC-37DA-7D4A-9153-7D7FAE8A4959}" type="presOf" srcId="{487C6DDB-16EA-8048-89A6-EBE7F5139E87}" destId="{F18AD3D4-3EBF-6740-A7F5-A34CCB8DAF75}" srcOrd="0" destOrd="0" presId="urn:microsoft.com/office/officeart/2005/8/layout/pyramid1"/>
    <dgm:cxn modelId="{48C3A3BC-42BB-574B-B352-676F1D08287C}" srcId="{E63B5B2B-F6A6-8441-A576-D26F920DC37F}" destId="{13EE726E-487B-BC42-956A-027D42CABA5C}" srcOrd="3" destOrd="0" parTransId="{64E3511B-7E49-764F-99C6-260A3CE823FF}" sibTransId="{730F1F49-C290-164E-95BF-400B875FFE30}"/>
    <dgm:cxn modelId="{75B68CD2-F4CE-984E-AF23-770AB3E12A04}" type="presOf" srcId="{7B85411E-E25C-6F42-91E4-53D6A772A7AE}" destId="{E4AD5763-DCE8-8646-9423-0796D183EB64}" srcOrd="0" destOrd="0" presId="urn:microsoft.com/office/officeart/2005/8/layout/pyramid1"/>
    <dgm:cxn modelId="{FE5729D9-B480-4043-AF2B-FAAE076BAE54}" srcId="{E63B5B2B-F6A6-8441-A576-D26F920DC37F}" destId="{487C6DDB-16EA-8048-89A6-EBE7F5139E87}" srcOrd="0" destOrd="0" parTransId="{F4C6CB43-A4A1-B344-B75F-5C507D5AB346}" sibTransId="{B187C270-F206-EB47-969D-F237983DA29B}"/>
    <dgm:cxn modelId="{0F38DDDB-4936-6642-B107-CD0B73EB4D34}" type="presOf" srcId="{9070CC88-EB24-E342-9919-2FCA608334E5}" destId="{7F1E56D0-FCE2-0E43-AE50-B92A1C2A4023}" srcOrd="1" destOrd="0" presId="urn:microsoft.com/office/officeart/2005/8/layout/pyramid1"/>
    <dgm:cxn modelId="{F4BD41E2-66AF-FD41-B3E4-D1D9BA0E0489}" srcId="{E63B5B2B-F6A6-8441-A576-D26F920DC37F}" destId="{7B85411E-E25C-6F42-91E4-53D6A772A7AE}" srcOrd="1" destOrd="0" parTransId="{1F49EEF7-00DB-F24E-ABA1-76F8D1DAA17B}" sibTransId="{7E267195-F0D2-F446-B54C-EC6424F5757D}"/>
    <dgm:cxn modelId="{FECBA123-C91B-8B4D-BF4C-FB439FA2C695}" type="presParOf" srcId="{6ECD5B3B-9384-5444-8A5D-3417A6E94D0F}" destId="{4C6A5A9E-52EB-664C-8E84-0B6237493D5E}" srcOrd="0" destOrd="0" presId="urn:microsoft.com/office/officeart/2005/8/layout/pyramid1"/>
    <dgm:cxn modelId="{A0BCF445-F5D1-1B41-9D3D-253CA10CD8EC}" type="presParOf" srcId="{4C6A5A9E-52EB-664C-8E84-0B6237493D5E}" destId="{F18AD3D4-3EBF-6740-A7F5-A34CCB8DAF75}" srcOrd="0" destOrd="0" presId="urn:microsoft.com/office/officeart/2005/8/layout/pyramid1"/>
    <dgm:cxn modelId="{67E35574-273D-7E40-8030-619D24D72EFF}" type="presParOf" srcId="{4C6A5A9E-52EB-664C-8E84-0B6237493D5E}" destId="{6C68EA97-559F-5B4C-BAEF-7523CDE8859F}" srcOrd="1" destOrd="0" presId="urn:microsoft.com/office/officeart/2005/8/layout/pyramid1"/>
    <dgm:cxn modelId="{C4D48264-982B-F94F-905E-93A8BDBDB777}" type="presParOf" srcId="{6ECD5B3B-9384-5444-8A5D-3417A6E94D0F}" destId="{7D8399FB-5995-A348-BEB7-AC598E062549}" srcOrd="1" destOrd="0" presId="urn:microsoft.com/office/officeart/2005/8/layout/pyramid1"/>
    <dgm:cxn modelId="{FEE54F2C-1D91-C147-A432-936938169FC6}" type="presParOf" srcId="{7D8399FB-5995-A348-BEB7-AC598E062549}" destId="{E4AD5763-DCE8-8646-9423-0796D183EB64}" srcOrd="0" destOrd="0" presId="urn:microsoft.com/office/officeart/2005/8/layout/pyramid1"/>
    <dgm:cxn modelId="{6483BC9D-ED3C-F240-BF59-077192B5A631}" type="presParOf" srcId="{7D8399FB-5995-A348-BEB7-AC598E062549}" destId="{AC8E9D14-6819-8F4A-9C5D-059395C22341}" srcOrd="1" destOrd="0" presId="urn:microsoft.com/office/officeart/2005/8/layout/pyramid1"/>
    <dgm:cxn modelId="{0E246D9A-9336-9340-BBFD-C7D726AB2718}" type="presParOf" srcId="{6ECD5B3B-9384-5444-8A5D-3417A6E94D0F}" destId="{9E4AA830-91D0-0541-A272-2817ECCF0C25}" srcOrd="2" destOrd="0" presId="urn:microsoft.com/office/officeart/2005/8/layout/pyramid1"/>
    <dgm:cxn modelId="{C7856B67-25F0-9943-9476-A748DB803868}" type="presParOf" srcId="{9E4AA830-91D0-0541-A272-2817ECCF0C25}" destId="{49A2C099-09E7-5845-9B71-7892FA5F19FA}" srcOrd="0" destOrd="0" presId="urn:microsoft.com/office/officeart/2005/8/layout/pyramid1"/>
    <dgm:cxn modelId="{9D0C15BB-610E-6E4B-AC15-CA023C31375D}" type="presParOf" srcId="{9E4AA830-91D0-0541-A272-2817ECCF0C25}" destId="{3E34D7F9-55F3-AE4B-82A2-173B2B147DA6}" srcOrd="1" destOrd="0" presId="urn:microsoft.com/office/officeart/2005/8/layout/pyramid1"/>
    <dgm:cxn modelId="{039CB13C-FA33-414A-952A-5C5BB0D944CE}" type="presParOf" srcId="{6ECD5B3B-9384-5444-8A5D-3417A6E94D0F}" destId="{3F559EEF-40ED-164D-BA25-7684CFE7966F}" srcOrd="3" destOrd="0" presId="urn:microsoft.com/office/officeart/2005/8/layout/pyramid1"/>
    <dgm:cxn modelId="{C5C9B4C8-0856-2D41-990E-6B86989ECA1A}" type="presParOf" srcId="{3F559EEF-40ED-164D-BA25-7684CFE7966F}" destId="{10773469-3A0F-944C-A64E-5813C95065EA}" srcOrd="0" destOrd="0" presId="urn:microsoft.com/office/officeart/2005/8/layout/pyramid1"/>
    <dgm:cxn modelId="{FAB375E3-A609-7240-98E6-48CE56BBBBD4}" type="presParOf" srcId="{3F559EEF-40ED-164D-BA25-7684CFE7966F}" destId="{FA4DB1DE-A406-3B45-877A-D855E498BDD6}" srcOrd="1" destOrd="0" presId="urn:microsoft.com/office/officeart/2005/8/layout/pyramid1"/>
    <dgm:cxn modelId="{90D54F32-9252-D648-9338-1AFB068038FD}" type="presParOf" srcId="{6ECD5B3B-9384-5444-8A5D-3417A6E94D0F}" destId="{6751D3CF-4B1F-6745-90AB-D68983DE85B9}" srcOrd="4" destOrd="0" presId="urn:microsoft.com/office/officeart/2005/8/layout/pyramid1"/>
    <dgm:cxn modelId="{4777B3F6-D00F-054D-BA89-046D451C66AA}" type="presParOf" srcId="{6751D3CF-4B1F-6745-90AB-D68983DE85B9}" destId="{7D0C00B8-FBB5-E542-BB8C-D7C0963864DD}" srcOrd="0" destOrd="0" presId="urn:microsoft.com/office/officeart/2005/8/layout/pyramid1"/>
    <dgm:cxn modelId="{CCEA2522-52CB-F543-BC4E-25FC3F1C0F70}" type="presParOf" srcId="{6751D3CF-4B1F-6745-90AB-D68983DE85B9}" destId="{7F1E56D0-FCE2-0E43-AE50-B92A1C2A4023}" srcOrd="1" destOrd="0" presId="urn:microsoft.com/office/officeart/2005/8/layout/pyramid1"/>
    <dgm:cxn modelId="{489C8C7A-65A1-A548-8471-CF5535921105}" type="presParOf" srcId="{6ECD5B3B-9384-5444-8A5D-3417A6E94D0F}" destId="{D8AD44FA-A843-7B4C-B095-72629FE63ABF}" srcOrd="5" destOrd="0" presId="urn:microsoft.com/office/officeart/2005/8/layout/pyramid1"/>
    <dgm:cxn modelId="{814440EC-0796-1648-92F5-15EDD6CE0D54}" type="presParOf" srcId="{D8AD44FA-A843-7B4C-B095-72629FE63ABF}" destId="{E0640EEF-CCD0-A143-B7C0-98B8459BB784}" srcOrd="0" destOrd="0" presId="urn:microsoft.com/office/officeart/2005/8/layout/pyramid1"/>
    <dgm:cxn modelId="{EC2BFBA6-342A-5144-96EE-7F0F5746A0FD}" type="presParOf" srcId="{D8AD44FA-A843-7B4C-B095-72629FE63ABF}" destId="{DBA6EBB8-21A0-894A-BA2E-6E7C6406075C}" srcOrd="1" destOrd="0" presId="urn:microsoft.com/office/officeart/2005/8/layout/pyramid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8AD3D4-3EBF-6740-A7F5-A34CCB8DAF75}">
      <dsp:nvSpPr>
        <dsp:cNvPr id="0" name=""/>
        <dsp:cNvSpPr/>
      </dsp:nvSpPr>
      <dsp:spPr>
        <a:xfrm>
          <a:off x="2448882" y="0"/>
          <a:ext cx="979553" cy="664896"/>
        </a:xfrm>
        <a:prstGeom prst="trapezoid">
          <a:avLst>
            <a:gd name="adj" fmla="val 73662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0800" tIns="50800" rIns="50800" bIns="5080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0" kern="1200" dirty="0"/>
        </a:p>
      </dsp:txBody>
      <dsp:txXfrm>
        <a:off x="2448882" y="0"/>
        <a:ext cx="979553" cy="664896"/>
      </dsp:txXfrm>
    </dsp:sp>
    <dsp:sp modelId="{E4AD5763-DCE8-8646-9423-0796D183EB64}">
      <dsp:nvSpPr>
        <dsp:cNvPr id="0" name=""/>
        <dsp:cNvSpPr/>
      </dsp:nvSpPr>
      <dsp:spPr>
        <a:xfrm>
          <a:off x="1959106" y="664896"/>
          <a:ext cx="1959106" cy="664896"/>
        </a:xfrm>
        <a:prstGeom prst="trapezoid">
          <a:avLst>
            <a:gd name="adj" fmla="val 73662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Reduction</a:t>
          </a:r>
        </a:p>
      </dsp:txBody>
      <dsp:txXfrm>
        <a:off x="2301949" y="664896"/>
        <a:ext cx="1273419" cy="664896"/>
      </dsp:txXfrm>
    </dsp:sp>
    <dsp:sp modelId="{49A2C099-09E7-5845-9B71-7892FA5F19FA}">
      <dsp:nvSpPr>
        <dsp:cNvPr id="0" name=""/>
        <dsp:cNvSpPr/>
      </dsp:nvSpPr>
      <dsp:spPr>
        <a:xfrm>
          <a:off x="1469329" y="1329793"/>
          <a:ext cx="2938659" cy="664896"/>
        </a:xfrm>
        <a:prstGeom prst="trapezoid">
          <a:avLst>
            <a:gd name="adj" fmla="val 73662"/>
          </a:avLst>
        </a:prstGeom>
        <a:solidFill>
          <a:srgbClr val="FFFF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Reuse</a:t>
          </a:r>
        </a:p>
      </dsp:txBody>
      <dsp:txXfrm>
        <a:off x="1983595" y="1329793"/>
        <a:ext cx="1910128" cy="664896"/>
      </dsp:txXfrm>
    </dsp:sp>
    <dsp:sp modelId="{10773469-3A0F-944C-A64E-5813C95065EA}">
      <dsp:nvSpPr>
        <dsp:cNvPr id="0" name=""/>
        <dsp:cNvSpPr/>
      </dsp:nvSpPr>
      <dsp:spPr>
        <a:xfrm>
          <a:off x="979553" y="1994690"/>
          <a:ext cx="3918212" cy="664896"/>
        </a:xfrm>
        <a:prstGeom prst="trapezoid">
          <a:avLst>
            <a:gd name="adj" fmla="val 73662"/>
          </a:avLst>
        </a:prstGeom>
        <a:solidFill>
          <a:srgbClr val="FFC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Recycling</a:t>
          </a:r>
          <a:endParaRPr lang="en-US" sz="2000" kern="1200" dirty="0"/>
        </a:p>
      </dsp:txBody>
      <dsp:txXfrm>
        <a:off x="1665240" y="1994690"/>
        <a:ext cx="2546838" cy="664896"/>
      </dsp:txXfrm>
    </dsp:sp>
    <dsp:sp modelId="{7D0C00B8-FBB5-E542-BB8C-D7C0963864DD}">
      <dsp:nvSpPr>
        <dsp:cNvPr id="0" name=""/>
        <dsp:cNvSpPr/>
      </dsp:nvSpPr>
      <dsp:spPr>
        <a:xfrm>
          <a:off x="489776" y="2659587"/>
          <a:ext cx="4897765" cy="664896"/>
        </a:xfrm>
        <a:prstGeom prst="trapezoid">
          <a:avLst>
            <a:gd name="adj" fmla="val 73662"/>
          </a:avLst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Energy recovery</a:t>
          </a:r>
          <a:endParaRPr lang="en-US" sz="2000" kern="1200" dirty="0"/>
        </a:p>
      </dsp:txBody>
      <dsp:txXfrm>
        <a:off x="1346885" y="2659587"/>
        <a:ext cx="3183547" cy="664896"/>
      </dsp:txXfrm>
    </dsp:sp>
    <dsp:sp modelId="{E0640EEF-CCD0-A143-B7C0-98B8459BB784}">
      <dsp:nvSpPr>
        <dsp:cNvPr id="0" name=""/>
        <dsp:cNvSpPr/>
      </dsp:nvSpPr>
      <dsp:spPr>
        <a:xfrm>
          <a:off x="0" y="3324484"/>
          <a:ext cx="5877319" cy="664896"/>
        </a:xfrm>
        <a:prstGeom prst="trapezoid">
          <a:avLst>
            <a:gd name="adj" fmla="val 73662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Disposal</a:t>
          </a:r>
        </a:p>
      </dsp:txBody>
      <dsp:txXfrm>
        <a:off x="1028530" y="3324484"/>
        <a:ext cx="3820257" cy="66489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8AD3D4-3EBF-6740-A7F5-A34CCB8DAF75}">
      <dsp:nvSpPr>
        <dsp:cNvPr id="0" name=""/>
        <dsp:cNvSpPr/>
      </dsp:nvSpPr>
      <dsp:spPr>
        <a:xfrm>
          <a:off x="1350228" y="0"/>
          <a:ext cx="540091" cy="360061"/>
        </a:xfrm>
        <a:prstGeom prst="trapezoid">
          <a:avLst>
            <a:gd name="adj" fmla="val 75000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/>
        </a:p>
      </dsp:txBody>
      <dsp:txXfrm>
        <a:off x="1350228" y="0"/>
        <a:ext cx="540091" cy="360061"/>
      </dsp:txXfrm>
    </dsp:sp>
    <dsp:sp modelId="{E4AD5763-DCE8-8646-9423-0796D183EB64}">
      <dsp:nvSpPr>
        <dsp:cNvPr id="0" name=""/>
        <dsp:cNvSpPr/>
      </dsp:nvSpPr>
      <dsp:spPr>
        <a:xfrm>
          <a:off x="1080183" y="360061"/>
          <a:ext cx="1080183" cy="360061"/>
        </a:xfrm>
        <a:prstGeom prst="trapezoid">
          <a:avLst>
            <a:gd name="adj" fmla="val 75000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duction</a:t>
          </a:r>
        </a:p>
      </dsp:txBody>
      <dsp:txXfrm>
        <a:off x="1269215" y="360061"/>
        <a:ext cx="702118" cy="360061"/>
      </dsp:txXfrm>
    </dsp:sp>
    <dsp:sp modelId="{49A2C099-09E7-5845-9B71-7892FA5F19FA}">
      <dsp:nvSpPr>
        <dsp:cNvPr id="0" name=""/>
        <dsp:cNvSpPr/>
      </dsp:nvSpPr>
      <dsp:spPr>
        <a:xfrm>
          <a:off x="810137" y="720122"/>
          <a:ext cx="1620274" cy="360061"/>
        </a:xfrm>
        <a:prstGeom prst="trapezoid">
          <a:avLst>
            <a:gd name="adj" fmla="val 75000"/>
          </a:avLst>
        </a:prstGeom>
        <a:solidFill>
          <a:srgbClr val="FFFF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use</a:t>
          </a:r>
        </a:p>
      </dsp:txBody>
      <dsp:txXfrm>
        <a:off x="1093685" y="720122"/>
        <a:ext cx="1053178" cy="360061"/>
      </dsp:txXfrm>
    </dsp:sp>
    <dsp:sp modelId="{10773469-3A0F-944C-A64E-5813C95065EA}">
      <dsp:nvSpPr>
        <dsp:cNvPr id="0" name=""/>
        <dsp:cNvSpPr/>
      </dsp:nvSpPr>
      <dsp:spPr>
        <a:xfrm>
          <a:off x="540091" y="1080183"/>
          <a:ext cx="2160366" cy="360061"/>
        </a:xfrm>
        <a:prstGeom prst="trapezoid">
          <a:avLst>
            <a:gd name="adj" fmla="val 75000"/>
          </a:avLst>
        </a:prstGeom>
        <a:solidFill>
          <a:srgbClr val="FFC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Recycling</a:t>
          </a:r>
          <a:endParaRPr lang="en-US" sz="1200" kern="1200" dirty="0"/>
        </a:p>
      </dsp:txBody>
      <dsp:txXfrm>
        <a:off x="918155" y="1080183"/>
        <a:ext cx="1404237" cy="360061"/>
      </dsp:txXfrm>
    </dsp:sp>
    <dsp:sp modelId="{7D0C00B8-FBB5-E542-BB8C-D7C0963864DD}">
      <dsp:nvSpPr>
        <dsp:cNvPr id="0" name=""/>
        <dsp:cNvSpPr/>
      </dsp:nvSpPr>
      <dsp:spPr>
        <a:xfrm>
          <a:off x="270045" y="1440244"/>
          <a:ext cx="2700457" cy="360061"/>
        </a:xfrm>
        <a:prstGeom prst="trapezoid">
          <a:avLst>
            <a:gd name="adj" fmla="val 75000"/>
          </a:avLst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Energy recovery</a:t>
          </a:r>
        </a:p>
      </dsp:txBody>
      <dsp:txXfrm>
        <a:off x="742625" y="1440244"/>
        <a:ext cx="1755297" cy="360061"/>
      </dsp:txXfrm>
    </dsp:sp>
    <dsp:sp modelId="{E0640EEF-CCD0-A143-B7C0-98B8459BB784}">
      <dsp:nvSpPr>
        <dsp:cNvPr id="0" name=""/>
        <dsp:cNvSpPr/>
      </dsp:nvSpPr>
      <dsp:spPr>
        <a:xfrm>
          <a:off x="0" y="1800305"/>
          <a:ext cx="3240548" cy="360061"/>
        </a:xfrm>
        <a:prstGeom prst="trapezoid">
          <a:avLst>
            <a:gd name="adj" fmla="val 75000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Disposal</a:t>
          </a:r>
        </a:p>
      </dsp:txBody>
      <dsp:txXfrm>
        <a:off x="567096" y="1800305"/>
        <a:ext cx="2106356" cy="36006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8AD3D4-3EBF-6740-A7F5-A34CCB8DAF75}">
      <dsp:nvSpPr>
        <dsp:cNvPr id="0" name=""/>
        <dsp:cNvSpPr/>
      </dsp:nvSpPr>
      <dsp:spPr>
        <a:xfrm>
          <a:off x="1350228" y="0"/>
          <a:ext cx="540091" cy="360061"/>
        </a:xfrm>
        <a:prstGeom prst="trapezoid">
          <a:avLst>
            <a:gd name="adj" fmla="val 75000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/>
        </a:p>
      </dsp:txBody>
      <dsp:txXfrm>
        <a:off x="1350228" y="0"/>
        <a:ext cx="540091" cy="360061"/>
      </dsp:txXfrm>
    </dsp:sp>
    <dsp:sp modelId="{E4AD5763-DCE8-8646-9423-0796D183EB64}">
      <dsp:nvSpPr>
        <dsp:cNvPr id="0" name=""/>
        <dsp:cNvSpPr/>
      </dsp:nvSpPr>
      <dsp:spPr>
        <a:xfrm>
          <a:off x="1080183" y="360061"/>
          <a:ext cx="1080183" cy="360061"/>
        </a:xfrm>
        <a:prstGeom prst="trapezoid">
          <a:avLst>
            <a:gd name="adj" fmla="val 75000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duction</a:t>
          </a:r>
        </a:p>
      </dsp:txBody>
      <dsp:txXfrm>
        <a:off x="1269215" y="360061"/>
        <a:ext cx="702118" cy="360061"/>
      </dsp:txXfrm>
    </dsp:sp>
    <dsp:sp modelId="{49A2C099-09E7-5845-9B71-7892FA5F19FA}">
      <dsp:nvSpPr>
        <dsp:cNvPr id="0" name=""/>
        <dsp:cNvSpPr/>
      </dsp:nvSpPr>
      <dsp:spPr>
        <a:xfrm>
          <a:off x="810137" y="720122"/>
          <a:ext cx="1620274" cy="360061"/>
        </a:xfrm>
        <a:prstGeom prst="trapezoid">
          <a:avLst>
            <a:gd name="adj" fmla="val 75000"/>
          </a:avLst>
        </a:prstGeom>
        <a:solidFill>
          <a:srgbClr val="FFFF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use</a:t>
          </a:r>
        </a:p>
      </dsp:txBody>
      <dsp:txXfrm>
        <a:off x="1093685" y="720122"/>
        <a:ext cx="1053178" cy="360061"/>
      </dsp:txXfrm>
    </dsp:sp>
    <dsp:sp modelId="{10773469-3A0F-944C-A64E-5813C95065EA}">
      <dsp:nvSpPr>
        <dsp:cNvPr id="0" name=""/>
        <dsp:cNvSpPr/>
      </dsp:nvSpPr>
      <dsp:spPr>
        <a:xfrm>
          <a:off x="540091" y="1080183"/>
          <a:ext cx="2160366" cy="360061"/>
        </a:xfrm>
        <a:prstGeom prst="trapezoid">
          <a:avLst>
            <a:gd name="adj" fmla="val 75000"/>
          </a:avLst>
        </a:prstGeom>
        <a:solidFill>
          <a:srgbClr val="FFC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Recycling</a:t>
          </a:r>
          <a:endParaRPr lang="en-US" sz="1200" kern="1200" dirty="0"/>
        </a:p>
      </dsp:txBody>
      <dsp:txXfrm>
        <a:off x="918155" y="1080183"/>
        <a:ext cx="1404237" cy="360061"/>
      </dsp:txXfrm>
    </dsp:sp>
    <dsp:sp modelId="{7D0C00B8-FBB5-E542-BB8C-D7C0963864DD}">
      <dsp:nvSpPr>
        <dsp:cNvPr id="0" name=""/>
        <dsp:cNvSpPr/>
      </dsp:nvSpPr>
      <dsp:spPr>
        <a:xfrm>
          <a:off x="270045" y="1440244"/>
          <a:ext cx="2700457" cy="360061"/>
        </a:xfrm>
        <a:prstGeom prst="trapezoid">
          <a:avLst>
            <a:gd name="adj" fmla="val 75000"/>
          </a:avLst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Energy recovery</a:t>
          </a:r>
          <a:endParaRPr lang="en-US" sz="1200" kern="1200" dirty="0"/>
        </a:p>
      </dsp:txBody>
      <dsp:txXfrm>
        <a:off x="742625" y="1440244"/>
        <a:ext cx="1755297" cy="360061"/>
      </dsp:txXfrm>
    </dsp:sp>
    <dsp:sp modelId="{E0640EEF-CCD0-A143-B7C0-98B8459BB784}">
      <dsp:nvSpPr>
        <dsp:cNvPr id="0" name=""/>
        <dsp:cNvSpPr/>
      </dsp:nvSpPr>
      <dsp:spPr>
        <a:xfrm>
          <a:off x="0" y="1800305"/>
          <a:ext cx="3240548" cy="360061"/>
        </a:xfrm>
        <a:prstGeom prst="trapezoid">
          <a:avLst>
            <a:gd name="adj" fmla="val 75000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Disposal</a:t>
          </a:r>
        </a:p>
      </dsp:txBody>
      <dsp:txXfrm>
        <a:off x="567096" y="1800305"/>
        <a:ext cx="2106356" cy="36006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8AD3D4-3EBF-6740-A7F5-A34CCB8DAF75}">
      <dsp:nvSpPr>
        <dsp:cNvPr id="0" name=""/>
        <dsp:cNvSpPr/>
      </dsp:nvSpPr>
      <dsp:spPr>
        <a:xfrm>
          <a:off x="1350228" y="0"/>
          <a:ext cx="540091" cy="360061"/>
        </a:xfrm>
        <a:prstGeom prst="trapezoid">
          <a:avLst>
            <a:gd name="adj" fmla="val 75000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/>
        </a:p>
      </dsp:txBody>
      <dsp:txXfrm>
        <a:off x="1350228" y="0"/>
        <a:ext cx="540091" cy="360061"/>
      </dsp:txXfrm>
    </dsp:sp>
    <dsp:sp modelId="{E4AD5763-DCE8-8646-9423-0796D183EB64}">
      <dsp:nvSpPr>
        <dsp:cNvPr id="0" name=""/>
        <dsp:cNvSpPr/>
      </dsp:nvSpPr>
      <dsp:spPr>
        <a:xfrm>
          <a:off x="1080183" y="360061"/>
          <a:ext cx="1080183" cy="360061"/>
        </a:xfrm>
        <a:prstGeom prst="trapezoid">
          <a:avLst>
            <a:gd name="adj" fmla="val 75000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duction</a:t>
          </a:r>
        </a:p>
      </dsp:txBody>
      <dsp:txXfrm>
        <a:off x="1269215" y="360061"/>
        <a:ext cx="702118" cy="360061"/>
      </dsp:txXfrm>
    </dsp:sp>
    <dsp:sp modelId="{49A2C099-09E7-5845-9B71-7892FA5F19FA}">
      <dsp:nvSpPr>
        <dsp:cNvPr id="0" name=""/>
        <dsp:cNvSpPr/>
      </dsp:nvSpPr>
      <dsp:spPr>
        <a:xfrm>
          <a:off x="810137" y="720122"/>
          <a:ext cx="1620274" cy="360061"/>
        </a:xfrm>
        <a:prstGeom prst="trapezoid">
          <a:avLst>
            <a:gd name="adj" fmla="val 75000"/>
          </a:avLst>
        </a:prstGeom>
        <a:solidFill>
          <a:srgbClr val="FFFF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use</a:t>
          </a:r>
        </a:p>
      </dsp:txBody>
      <dsp:txXfrm>
        <a:off x="1093685" y="720122"/>
        <a:ext cx="1053178" cy="360061"/>
      </dsp:txXfrm>
    </dsp:sp>
    <dsp:sp modelId="{10773469-3A0F-944C-A64E-5813C95065EA}">
      <dsp:nvSpPr>
        <dsp:cNvPr id="0" name=""/>
        <dsp:cNvSpPr/>
      </dsp:nvSpPr>
      <dsp:spPr>
        <a:xfrm>
          <a:off x="540091" y="1080183"/>
          <a:ext cx="2160366" cy="360061"/>
        </a:xfrm>
        <a:prstGeom prst="trapezoid">
          <a:avLst>
            <a:gd name="adj" fmla="val 75000"/>
          </a:avLst>
        </a:prstGeom>
        <a:solidFill>
          <a:srgbClr val="FFC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Recycling</a:t>
          </a:r>
          <a:endParaRPr lang="en-US" sz="1200" kern="1200" dirty="0"/>
        </a:p>
      </dsp:txBody>
      <dsp:txXfrm>
        <a:off x="918155" y="1080183"/>
        <a:ext cx="1404237" cy="360061"/>
      </dsp:txXfrm>
    </dsp:sp>
    <dsp:sp modelId="{7D0C00B8-FBB5-E542-BB8C-D7C0963864DD}">
      <dsp:nvSpPr>
        <dsp:cNvPr id="0" name=""/>
        <dsp:cNvSpPr/>
      </dsp:nvSpPr>
      <dsp:spPr>
        <a:xfrm>
          <a:off x="270045" y="1440244"/>
          <a:ext cx="2700457" cy="360061"/>
        </a:xfrm>
        <a:prstGeom prst="trapezoid">
          <a:avLst>
            <a:gd name="adj" fmla="val 75000"/>
          </a:avLst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Energy recovery</a:t>
          </a:r>
          <a:endParaRPr lang="en-US" sz="1200" kern="1200" dirty="0"/>
        </a:p>
      </dsp:txBody>
      <dsp:txXfrm>
        <a:off x="742625" y="1440244"/>
        <a:ext cx="1755297" cy="360061"/>
      </dsp:txXfrm>
    </dsp:sp>
    <dsp:sp modelId="{E0640EEF-CCD0-A143-B7C0-98B8459BB784}">
      <dsp:nvSpPr>
        <dsp:cNvPr id="0" name=""/>
        <dsp:cNvSpPr/>
      </dsp:nvSpPr>
      <dsp:spPr>
        <a:xfrm>
          <a:off x="0" y="1800305"/>
          <a:ext cx="3240548" cy="360061"/>
        </a:xfrm>
        <a:prstGeom prst="trapezoid">
          <a:avLst>
            <a:gd name="adj" fmla="val 75000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Disposal</a:t>
          </a:r>
        </a:p>
      </dsp:txBody>
      <dsp:txXfrm>
        <a:off x="567096" y="1800305"/>
        <a:ext cx="2106356" cy="360061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8AD3D4-3EBF-6740-A7F5-A34CCB8DAF75}">
      <dsp:nvSpPr>
        <dsp:cNvPr id="0" name=""/>
        <dsp:cNvSpPr/>
      </dsp:nvSpPr>
      <dsp:spPr>
        <a:xfrm>
          <a:off x="1350228" y="0"/>
          <a:ext cx="540091" cy="360061"/>
        </a:xfrm>
        <a:prstGeom prst="trapezoid">
          <a:avLst>
            <a:gd name="adj" fmla="val 75000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/>
        </a:p>
      </dsp:txBody>
      <dsp:txXfrm>
        <a:off x="1350228" y="0"/>
        <a:ext cx="540091" cy="360061"/>
      </dsp:txXfrm>
    </dsp:sp>
    <dsp:sp modelId="{E4AD5763-DCE8-8646-9423-0796D183EB64}">
      <dsp:nvSpPr>
        <dsp:cNvPr id="0" name=""/>
        <dsp:cNvSpPr/>
      </dsp:nvSpPr>
      <dsp:spPr>
        <a:xfrm>
          <a:off x="1080183" y="360061"/>
          <a:ext cx="1080183" cy="360061"/>
        </a:xfrm>
        <a:prstGeom prst="trapezoid">
          <a:avLst>
            <a:gd name="adj" fmla="val 75000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duction</a:t>
          </a:r>
        </a:p>
      </dsp:txBody>
      <dsp:txXfrm>
        <a:off x="1269215" y="360061"/>
        <a:ext cx="702118" cy="360061"/>
      </dsp:txXfrm>
    </dsp:sp>
    <dsp:sp modelId="{49A2C099-09E7-5845-9B71-7892FA5F19FA}">
      <dsp:nvSpPr>
        <dsp:cNvPr id="0" name=""/>
        <dsp:cNvSpPr/>
      </dsp:nvSpPr>
      <dsp:spPr>
        <a:xfrm>
          <a:off x="810137" y="720122"/>
          <a:ext cx="1620274" cy="360061"/>
        </a:xfrm>
        <a:prstGeom prst="trapezoid">
          <a:avLst>
            <a:gd name="adj" fmla="val 75000"/>
          </a:avLst>
        </a:prstGeom>
        <a:solidFill>
          <a:srgbClr val="FFFF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use</a:t>
          </a:r>
        </a:p>
      </dsp:txBody>
      <dsp:txXfrm>
        <a:off x="1093685" y="720122"/>
        <a:ext cx="1053178" cy="360061"/>
      </dsp:txXfrm>
    </dsp:sp>
    <dsp:sp modelId="{10773469-3A0F-944C-A64E-5813C95065EA}">
      <dsp:nvSpPr>
        <dsp:cNvPr id="0" name=""/>
        <dsp:cNvSpPr/>
      </dsp:nvSpPr>
      <dsp:spPr>
        <a:xfrm>
          <a:off x="540091" y="1080183"/>
          <a:ext cx="2160366" cy="360061"/>
        </a:xfrm>
        <a:prstGeom prst="trapezoid">
          <a:avLst>
            <a:gd name="adj" fmla="val 75000"/>
          </a:avLst>
        </a:prstGeom>
        <a:solidFill>
          <a:srgbClr val="FFC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Recycling</a:t>
          </a:r>
          <a:endParaRPr lang="en-US" sz="1200" kern="1200" dirty="0"/>
        </a:p>
      </dsp:txBody>
      <dsp:txXfrm>
        <a:off x="918155" y="1080183"/>
        <a:ext cx="1404237" cy="360061"/>
      </dsp:txXfrm>
    </dsp:sp>
    <dsp:sp modelId="{7D0C00B8-FBB5-E542-BB8C-D7C0963864DD}">
      <dsp:nvSpPr>
        <dsp:cNvPr id="0" name=""/>
        <dsp:cNvSpPr/>
      </dsp:nvSpPr>
      <dsp:spPr>
        <a:xfrm>
          <a:off x="270045" y="1440244"/>
          <a:ext cx="2700457" cy="360061"/>
        </a:xfrm>
        <a:prstGeom prst="trapezoid">
          <a:avLst>
            <a:gd name="adj" fmla="val 75000"/>
          </a:avLst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Energy recovery</a:t>
          </a:r>
          <a:endParaRPr lang="en-US" sz="1200" kern="1200" dirty="0"/>
        </a:p>
      </dsp:txBody>
      <dsp:txXfrm>
        <a:off x="742625" y="1440244"/>
        <a:ext cx="1755297" cy="360061"/>
      </dsp:txXfrm>
    </dsp:sp>
    <dsp:sp modelId="{E0640EEF-CCD0-A143-B7C0-98B8459BB784}">
      <dsp:nvSpPr>
        <dsp:cNvPr id="0" name=""/>
        <dsp:cNvSpPr/>
      </dsp:nvSpPr>
      <dsp:spPr>
        <a:xfrm>
          <a:off x="0" y="1800305"/>
          <a:ext cx="3240548" cy="360061"/>
        </a:xfrm>
        <a:prstGeom prst="trapezoid">
          <a:avLst>
            <a:gd name="adj" fmla="val 75000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Disposal</a:t>
          </a:r>
        </a:p>
      </dsp:txBody>
      <dsp:txXfrm>
        <a:off x="567096" y="1800305"/>
        <a:ext cx="2106356" cy="360061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8AD3D4-3EBF-6740-A7F5-A34CCB8DAF75}">
      <dsp:nvSpPr>
        <dsp:cNvPr id="0" name=""/>
        <dsp:cNvSpPr/>
      </dsp:nvSpPr>
      <dsp:spPr>
        <a:xfrm>
          <a:off x="1350228" y="0"/>
          <a:ext cx="540091" cy="360061"/>
        </a:xfrm>
        <a:prstGeom prst="trapezoid">
          <a:avLst>
            <a:gd name="adj" fmla="val 75000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/>
        </a:p>
      </dsp:txBody>
      <dsp:txXfrm>
        <a:off x="1350228" y="0"/>
        <a:ext cx="540091" cy="360061"/>
      </dsp:txXfrm>
    </dsp:sp>
    <dsp:sp modelId="{E4AD5763-DCE8-8646-9423-0796D183EB64}">
      <dsp:nvSpPr>
        <dsp:cNvPr id="0" name=""/>
        <dsp:cNvSpPr/>
      </dsp:nvSpPr>
      <dsp:spPr>
        <a:xfrm>
          <a:off x="1080183" y="360061"/>
          <a:ext cx="1080183" cy="360061"/>
        </a:xfrm>
        <a:prstGeom prst="trapezoid">
          <a:avLst>
            <a:gd name="adj" fmla="val 75000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duction</a:t>
          </a:r>
        </a:p>
      </dsp:txBody>
      <dsp:txXfrm>
        <a:off x="1269215" y="360061"/>
        <a:ext cx="702118" cy="360061"/>
      </dsp:txXfrm>
    </dsp:sp>
    <dsp:sp modelId="{49A2C099-09E7-5845-9B71-7892FA5F19FA}">
      <dsp:nvSpPr>
        <dsp:cNvPr id="0" name=""/>
        <dsp:cNvSpPr/>
      </dsp:nvSpPr>
      <dsp:spPr>
        <a:xfrm>
          <a:off x="810137" y="720122"/>
          <a:ext cx="1620274" cy="360061"/>
        </a:xfrm>
        <a:prstGeom prst="trapezoid">
          <a:avLst>
            <a:gd name="adj" fmla="val 75000"/>
          </a:avLst>
        </a:prstGeom>
        <a:solidFill>
          <a:srgbClr val="FFFF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use</a:t>
          </a:r>
        </a:p>
      </dsp:txBody>
      <dsp:txXfrm>
        <a:off x="1093685" y="720122"/>
        <a:ext cx="1053178" cy="360061"/>
      </dsp:txXfrm>
    </dsp:sp>
    <dsp:sp modelId="{10773469-3A0F-944C-A64E-5813C95065EA}">
      <dsp:nvSpPr>
        <dsp:cNvPr id="0" name=""/>
        <dsp:cNvSpPr/>
      </dsp:nvSpPr>
      <dsp:spPr>
        <a:xfrm>
          <a:off x="540091" y="1080183"/>
          <a:ext cx="2160366" cy="360061"/>
        </a:xfrm>
        <a:prstGeom prst="trapezoid">
          <a:avLst>
            <a:gd name="adj" fmla="val 75000"/>
          </a:avLst>
        </a:prstGeom>
        <a:solidFill>
          <a:srgbClr val="FFC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Recycling</a:t>
          </a:r>
          <a:endParaRPr lang="en-US" sz="1200" kern="1200" dirty="0"/>
        </a:p>
      </dsp:txBody>
      <dsp:txXfrm>
        <a:off x="918155" y="1080183"/>
        <a:ext cx="1404237" cy="360061"/>
      </dsp:txXfrm>
    </dsp:sp>
    <dsp:sp modelId="{7D0C00B8-FBB5-E542-BB8C-D7C0963864DD}">
      <dsp:nvSpPr>
        <dsp:cNvPr id="0" name=""/>
        <dsp:cNvSpPr/>
      </dsp:nvSpPr>
      <dsp:spPr>
        <a:xfrm>
          <a:off x="270045" y="1440244"/>
          <a:ext cx="2700457" cy="360061"/>
        </a:xfrm>
        <a:prstGeom prst="trapezoid">
          <a:avLst>
            <a:gd name="adj" fmla="val 75000"/>
          </a:avLst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Energy recovery</a:t>
          </a:r>
          <a:endParaRPr lang="en-US" sz="1200" kern="1200" dirty="0"/>
        </a:p>
      </dsp:txBody>
      <dsp:txXfrm>
        <a:off x="742625" y="1440244"/>
        <a:ext cx="1755297" cy="360061"/>
      </dsp:txXfrm>
    </dsp:sp>
    <dsp:sp modelId="{E0640EEF-CCD0-A143-B7C0-98B8459BB784}">
      <dsp:nvSpPr>
        <dsp:cNvPr id="0" name=""/>
        <dsp:cNvSpPr/>
      </dsp:nvSpPr>
      <dsp:spPr>
        <a:xfrm>
          <a:off x="0" y="1800305"/>
          <a:ext cx="3240548" cy="360061"/>
        </a:xfrm>
        <a:prstGeom prst="trapezoid">
          <a:avLst>
            <a:gd name="adj" fmla="val 75000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Disposal</a:t>
          </a:r>
        </a:p>
      </dsp:txBody>
      <dsp:txXfrm>
        <a:off x="567096" y="1800305"/>
        <a:ext cx="2106356" cy="360061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8AD3D4-3EBF-6740-A7F5-A34CCB8DAF75}">
      <dsp:nvSpPr>
        <dsp:cNvPr id="0" name=""/>
        <dsp:cNvSpPr/>
      </dsp:nvSpPr>
      <dsp:spPr>
        <a:xfrm>
          <a:off x="1350228" y="0"/>
          <a:ext cx="540091" cy="360061"/>
        </a:xfrm>
        <a:prstGeom prst="trapezoid">
          <a:avLst>
            <a:gd name="adj" fmla="val 75000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/>
        </a:p>
      </dsp:txBody>
      <dsp:txXfrm>
        <a:off x="1350228" y="0"/>
        <a:ext cx="540091" cy="360061"/>
      </dsp:txXfrm>
    </dsp:sp>
    <dsp:sp modelId="{E4AD5763-DCE8-8646-9423-0796D183EB64}">
      <dsp:nvSpPr>
        <dsp:cNvPr id="0" name=""/>
        <dsp:cNvSpPr/>
      </dsp:nvSpPr>
      <dsp:spPr>
        <a:xfrm>
          <a:off x="1080183" y="360061"/>
          <a:ext cx="1080183" cy="360061"/>
        </a:xfrm>
        <a:prstGeom prst="trapezoid">
          <a:avLst>
            <a:gd name="adj" fmla="val 75000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duction</a:t>
          </a:r>
        </a:p>
      </dsp:txBody>
      <dsp:txXfrm>
        <a:off x="1269215" y="360061"/>
        <a:ext cx="702118" cy="360061"/>
      </dsp:txXfrm>
    </dsp:sp>
    <dsp:sp modelId="{49A2C099-09E7-5845-9B71-7892FA5F19FA}">
      <dsp:nvSpPr>
        <dsp:cNvPr id="0" name=""/>
        <dsp:cNvSpPr/>
      </dsp:nvSpPr>
      <dsp:spPr>
        <a:xfrm>
          <a:off x="810137" y="720122"/>
          <a:ext cx="1620274" cy="360061"/>
        </a:xfrm>
        <a:prstGeom prst="trapezoid">
          <a:avLst>
            <a:gd name="adj" fmla="val 75000"/>
          </a:avLst>
        </a:prstGeom>
        <a:solidFill>
          <a:srgbClr val="FFFF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use</a:t>
          </a:r>
        </a:p>
      </dsp:txBody>
      <dsp:txXfrm>
        <a:off x="1093685" y="720122"/>
        <a:ext cx="1053178" cy="360061"/>
      </dsp:txXfrm>
    </dsp:sp>
    <dsp:sp modelId="{10773469-3A0F-944C-A64E-5813C95065EA}">
      <dsp:nvSpPr>
        <dsp:cNvPr id="0" name=""/>
        <dsp:cNvSpPr/>
      </dsp:nvSpPr>
      <dsp:spPr>
        <a:xfrm>
          <a:off x="540091" y="1080183"/>
          <a:ext cx="2160366" cy="360061"/>
        </a:xfrm>
        <a:prstGeom prst="trapezoid">
          <a:avLst>
            <a:gd name="adj" fmla="val 75000"/>
          </a:avLst>
        </a:prstGeom>
        <a:solidFill>
          <a:srgbClr val="FFC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Recycling</a:t>
          </a:r>
          <a:endParaRPr lang="en-US" sz="1200" kern="1200" dirty="0"/>
        </a:p>
      </dsp:txBody>
      <dsp:txXfrm>
        <a:off x="918155" y="1080183"/>
        <a:ext cx="1404237" cy="360061"/>
      </dsp:txXfrm>
    </dsp:sp>
    <dsp:sp modelId="{7D0C00B8-FBB5-E542-BB8C-D7C0963864DD}">
      <dsp:nvSpPr>
        <dsp:cNvPr id="0" name=""/>
        <dsp:cNvSpPr/>
      </dsp:nvSpPr>
      <dsp:spPr>
        <a:xfrm>
          <a:off x="270045" y="1440244"/>
          <a:ext cx="2700457" cy="360061"/>
        </a:xfrm>
        <a:prstGeom prst="trapezoid">
          <a:avLst>
            <a:gd name="adj" fmla="val 75000"/>
          </a:avLst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Energy recovery</a:t>
          </a:r>
          <a:endParaRPr lang="en-US" sz="1200" kern="1200" dirty="0"/>
        </a:p>
      </dsp:txBody>
      <dsp:txXfrm>
        <a:off x="742625" y="1440244"/>
        <a:ext cx="1755297" cy="360061"/>
      </dsp:txXfrm>
    </dsp:sp>
    <dsp:sp modelId="{E0640EEF-CCD0-A143-B7C0-98B8459BB784}">
      <dsp:nvSpPr>
        <dsp:cNvPr id="0" name=""/>
        <dsp:cNvSpPr/>
      </dsp:nvSpPr>
      <dsp:spPr>
        <a:xfrm>
          <a:off x="0" y="1800305"/>
          <a:ext cx="3240548" cy="360061"/>
        </a:xfrm>
        <a:prstGeom prst="trapezoid">
          <a:avLst>
            <a:gd name="adj" fmla="val 75000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Disposal</a:t>
          </a:r>
        </a:p>
      </dsp:txBody>
      <dsp:txXfrm>
        <a:off x="567096" y="1800305"/>
        <a:ext cx="2106356" cy="36006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.v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7" Type="http://schemas.openxmlformats.org/officeDocument/2006/relationships/image" Target="../media/image20.emf"/><Relationship Id="rId2" Type="http://schemas.openxmlformats.org/officeDocument/2006/relationships/image" Target="../media/image15.emf"/><Relationship Id="rId1" Type="http://schemas.openxmlformats.org/officeDocument/2006/relationships/image" Target="../media/image14.emf"/><Relationship Id="rId6" Type="http://schemas.openxmlformats.org/officeDocument/2006/relationships/image" Target="../media/image19.emf"/><Relationship Id="rId5" Type="http://schemas.openxmlformats.org/officeDocument/2006/relationships/image" Target="../media/image18.emf"/><Relationship Id="rId4" Type="http://schemas.openxmlformats.org/officeDocument/2006/relationships/image" Target="../media/image1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AAA18FA-3DDD-E443-AB34-FCB1DBE67AE3}" type="datetimeFigureOut">
              <a:rPr lang="en-US" smtClean="0"/>
              <a:t>11/28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A41AE4-D752-D446-A178-A30358F2C9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85034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>
                <a:latin typeface="Calibri Regular" charset="0"/>
              </a:rPr>
              <a:t>Need for technologies to Reduce and Reuse waste.</a:t>
            </a:r>
          </a:p>
          <a:p>
            <a:r>
              <a:rPr lang="en-US" sz="1200" dirty="0">
                <a:latin typeface="Calibri Regular" charset="0"/>
              </a:rPr>
              <a:t>Ultimately, the waste production should be Prevented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5E31CE-E645-0646-B1C4-4C867113CE4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00952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713" name="Rectangle 1026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5714" name="Rectangle 1027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r>
              <a:rPr lang="pt-BR" altLang="x-none" dirty="0" err="1">
                <a:latin typeface="Times New Roman" charset="0"/>
                <a:ea typeface="ＭＳ Ｐゴシック" charset="-128"/>
              </a:rPr>
              <a:t>dNTPs</a:t>
            </a:r>
            <a:r>
              <a:rPr lang="pt-BR" altLang="x-none" dirty="0">
                <a:latin typeface="Times New Roman" charset="0"/>
                <a:ea typeface="ＭＳ Ｐゴシック" charset="-128"/>
              </a:rPr>
              <a:t> are essencial </a:t>
            </a:r>
            <a:r>
              <a:rPr lang="pt-BR" altLang="x-none" dirty="0" err="1">
                <a:latin typeface="Times New Roman" charset="0"/>
                <a:ea typeface="ＭＳ Ｐゴシック" charset="-128"/>
              </a:rPr>
              <a:t>feedstock</a:t>
            </a:r>
            <a:r>
              <a:rPr lang="pt-BR" altLang="x-none" dirty="0">
                <a:latin typeface="Times New Roman" charset="0"/>
                <a:ea typeface="ＭＳ Ｐゴシック" charset="-128"/>
              </a:rPr>
              <a:t> </a:t>
            </a:r>
            <a:r>
              <a:rPr lang="pt-BR" altLang="x-none" dirty="0" err="1">
                <a:latin typeface="Times New Roman" charset="0"/>
                <a:ea typeface="ＭＳ Ｐゴシック" charset="-128"/>
              </a:rPr>
              <a:t>to</a:t>
            </a:r>
            <a:r>
              <a:rPr lang="pt-BR" altLang="x-none" dirty="0">
                <a:latin typeface="Times New Roman" charset="0"/>
                <a:ea typeface="ＭＳ Ｐゴシック" charset="-128"/>
              </a:rPr>
              <a:t> </a:t>
            </a:r>
            <a:r>
              <a:rPr lang="pt-BR" altLang="x-none" dirty="0" err="1">
                <a:latin typeface="Times New Roman" charset="0"/>
                <a:ea typeface="ＭＳ Ｐゴシック" charset="-128"/>
              </a:rPr>
              <a:t>perform</a:t>
            </a:r>
            <a:r>
              <a:rPr lang="pt-BR" altLang="x-none" dirty="0">
                <a:latin typeface="Times New Roman" charset="0"/>
                <a:ea typeface="ＭＳ Ｐゴシック" charset="-128"/>
              </a:rPr>
              <a:t> </a:t>
            </a:r>
            <a:r>
              <a:rPr lang="pt-BR" altLang="x-none" dirty="0" err="1">
                <a:latin typeface="Times New Roman" charset="0"/>
                <a:ea typeface="ＭＳ Ｐゴシック" charset="-128"/>
              </a:rPr>
              <a:t>Polymarase</a:t>
            </a:r>
            <a:r>
              <a:rPr lang="pt-BR" altLang="x-none" dirty="0">
                <a:latin typeface="Times New Roman" charset="0"/>
                <a:ea typeface="ＭＳ Ｐゴシック" charset="-128"/>
              </a:rPr>
              <a:t> Chain </a:t>
            </a:r>
            <a:r>
              <a:rPr lang="pt-BR" altLang="x-none" dirty="0" err="1">
                <a:latin typeface="Times New Roman" charset="0"/>
                <a:ea typeface="ＭＳ Ｐゴシック" charset="-128"/>
              </a:rPr>
              <a:t>Reaction</a:t>
            </a:r>
            <a:r>
              <a:rPr lang="pt-BR" altLang="x-none" dirty="0">
                <a:latin typeface="Times New Roman" charset="0"/>
                <a:ea typeface="ＭＳ Ｐゴシック" charset="-128"/>
              </a:rPr>
              <a:t> (PCR)</a:t>
            </a:r>
            <a:endParaRPr lang="x-none" altLang="x-none" dirty="0">
              <a:latin typeface="Times New Roman" charset="0"/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948387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are just a</a:t>
            </a:r>
            <a:r>
              <a:rPr lang="en-US" baseline="0" dirty="0"/>
              <a:t> handful of examples of what we could do with glycerol so BURNING it is definitely not the most efficient way to use the limited resources nature offer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17339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so,</a:t>
            </a:r>
            <a:r>
              <a:rPr lang="en-US" baseline="0" dirty="0"/>
              <a:t> this catalyst works well in alkaline environ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8907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://www.aluminiumleader.com/production/aluminum_production/</a:t>
            </a:r>
          </a:p>
        </p:txBody>
      </p:sp>
    </p:spTree>
    <p:extLst>
      <p:ext uri="{BB962C8B-B14F-4D97-AF65-F5344CB8AC3E}">
        <p14:creationId xmlns:p14="http://schemas.microsoft.com/office/powerpoint/2010/main" val="2050975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://www.aluminiumleader.com/production/aluminum_production/</a:t>
            </a:r>
          </a:p>
        </p:txBody>
      </p:sp>
    </p:spTree>
    <p:extLst>
      <p:ext uri="{BB962C8B-B14F-4D97-AF65-F5344CB8AC3E}">
        <p14:creationId xmlns:p14="http://schemas.microsoft.com/office/powerpoint/2010/main" val="33886614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5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1859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9189193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5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1859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0038971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creasing number</a:t>
            </a:r>
            <a:r>
              <a:rPr lang="en-US" baseline="0" dirty="0"/>
              <a:t> of ring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5C52FA-F26A-BA4B-BA31-030E4B5E63A0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66606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11/2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29246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11/2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35412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11/2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03212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dgm">
  <p:cSld name="Title and Diagram or Organizatio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09600"/>
            <a:ext cx="103632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martArt Placeholder 2"/>
          <p:cNvSpPr>
            <a:spLocks noGrp="1"/>
          </p:cNvSpPr>
          <p:nvPr>
            <p:ph type="dgm" idx="1"/>
          </p:nvPr>
        </p:nvSpPr>
        <p:spPr>
          <a:xfrm>
            <a:off x="914400" y="1981200"/>
            <a:ext cx="10363200" cy="43434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82243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11/2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62673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11/2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81371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11/28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44239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11/28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24746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11/28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02878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11/28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82761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11/28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38431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11/28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50407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747893-AA25-8441-AE6A-2F619A5D3FB0}" type="datetimeFigureOut">
              <a:rPr lang="en-US" smtClean="0"/>
              <a:t>11/2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5597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tiff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4.tiff"/><Relationship Id="rId4" Type="http://schemas.openxmlformats.org/officeDocument/2006/relationships/image" Target="../media/image3.tif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doi.org/10.1039/1463-9270/1999" TargetMode="Externa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11.emf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3.jpg"/><Relationship Id="rId4" Type="http://schemas.openxmlformats.org/officeDocument/2006/relationships/image" Target="../media/image12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12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13" Type="http://schemas.openxmlformats.org/officeDocument/2006/relationships/image" Target="../media/image18.emf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5.emf"/><Relationship Id="rId12" Type="http://schemas.openxmlformats.org/officeDocument/2006/relationships/oleObject" Target="../embeddings/oleObject7.bin"/><Relationship Id="rId17" Type="http://schemas.openxmlformats.org/officeDocument/2006/relationships/image" Target="../media/image20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9.bin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17.emf"/><Relationship Id="rId5" Type="http://schemas.openxmlformats.org/officeDocument/2006/relationships/image" Target="../media/image14.emf"/><Relationship Id="rId15" Type="http://schemas.openxmlformats.org/officeDocument/2006/relationships/image" Target="../media/image19.emf"/><Relationship Id="rId10" Type="http://schemas.openxmlformats.org/officeDocument/2006/relationships/oleObject" Target="../embeddings/oleObject6.bin"/><Relationship Id="rId4" Type="http://schemas.openxmlformats.org/officeDocument/2006/relationships/oleObject" Target="../embeddings/oleObject3.bin"/><Relationship Id="rId9" Type="http://schemas.openxmlformats.org/officeDocument/2006/relationships/image" Target="../media/image16.emf"/><Relationship Id="rId14" Type="http://schemas.openxmlformats.org/officeDocument/2006/relationships/oleObject" Target="../embeddings/oleObject8.bin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0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3" Type="http://schemas.openxmlformats.org/officeDocument/2006/relationships/image" Target="../media/image23.jpeg"/><Relationship Id="rId7" Type="http://schemas.openxmlformats.org/officeDocument/2006/relationships/image" Target="../media/image27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jpeg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1.png"/><Relationship Id="rId4" Type="http://schemas.openxmlformats.org/officeDocument/2006/relationships/image" Target="../media/image30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wmf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3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37.png"/><Relationship Id="rId5" Type="http://schemas.openxmlformats.org/officeDocument/2006/relationships/image" Target="../media/image36.jpg"/><Relationship Id="rId4" Type="http://schemas.openxmlformats.org/officeDocument/2006/relationships/image" Target="../media/image35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tiff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3.emf"/><Relationship Id="rId4" Type="http://schemas.openxmlformats.org/officeDocument/2006/relationships/oleObject" Target="../embeddings/oleObject11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7.vml"/><Relationship Id="rId4" Type="http://schemas.openxmlformats.org/officeDocument/2006/relationships/image" Target="../media/image44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8.vml"/><Relationship Id="rId4" Type="http://schemas.openxmlformats.org/officeDocument/2006/relationships/image" Target="../media/image45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9.vml"/><Relationship Id="rId4" Type="http://schemas.openxmlformats.org/officeDocument/2006/relationships/image" Target="../media/image46.emf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tiff"/><Relationship Id="rId2" Type="http://schemas.openxmlformats.org/officeDocument/2006/relationships/image" Target="../media/image49.tiff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2.emf"/><Relationship Id="rId4" Type="http://schemas.openxmlformats.org/officeDocument/2006/relationships/image" Target="../media/image51.tif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0.vml"/><Relationship Id="rId4" Type="http://schemas.openxmlformats.org/officeDocument/2006/relationships/image" Target="../media/image53.emf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emf"/><Relationship Id="rId2" Type="http://schemas.openxmlformats.org/officeDocument/2006/relationships/image" Target="../media/image54.emf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6.tiff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image" Target="../media/image2.tiff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.png"/><Relationship Id="rId4" Type="http://schemas.openxmlformats.org/officeDocument/2006/relationships/image" Target="../media/image4.tif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7" Type="http://schemas.openxmlformats.org/officeDocument/2006/relationships/image" Target="../media/image7.jp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7" Type="http://schemas.openxmlformats.org/officeDocument/2006/relationships/image" Target="../media/image8.tiff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111C9E5-B25B-4F46-BD1E-142F6BA6AEB1}"/>
              </a:ext>
            </a:extLst>
          </p:cNvPr>
          <p:cNvSpPr/>
          <p:nvPr/>
        </p:nvSpPr>
        <p:spPr>
          <a:xfrm>
            <a:off x="4326923" y="1555973"/>
            <a:ext cx="3538148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0" cap="none" spc="0" normalizeH="0" baseline="0" noProof="0" dirty="0">
                <a:ln>
                  <a:noFill/>
                </a:ln>
                <a:solidFill>
                  <a:srgbClr val="00728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aste Preven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2954D4A-B9A9-4DE5-AE30-A6405586B69C}"/>
              </a:ext>
            </a:extLst>
          </p:cNvPr>
          <p:cNvSpPr txBox="1"/>
          <p:nvPr/>
        </p:nvSpPr>
        <p:spPr>
          <a:xfrm>
            <a:off x="604140" y="6550223"/>
            <a:ext cx="56436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age: Wikimedia </a:t>
            </a:r>
            <a:r>
              <a:rPr lang="en-US" sz="1400" dirty="0">
                <a:solidFill>
                  <a:prstClr val="white">
                    <a:lumMod val="50000"/>
                  </a:prstClr>
                </a:solidFill>
              </a:rPr>
              <a:t>Commons, Anacortes Refinery,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uthor</a:t>
            </a:r>
            <a:r>
              <a:rPr lang="en-US" sz="1400" dirty="0">
                <a:solidFill>
                  <a:prstClr val="white">
                    <a:lumMod val="50000"/>
                  </a:prstClr>
                </a:solidFill>
              </a:rPr>
              <a:t>: Walter </a:t>
            </a:r>
            <a:r>
              <a:rPr lang="en-US" sz="1400" dirty="0" err="1">
                <a:solidFill>
                  <a:prstClr val="white">
                    <a:lumMod val="50000"/>
                  </a:prstClr>
                </a:solidFill>
              </a:rPr>
              <a:t>Siegmund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ACC1083-CD6D-41DB-9615-37C5FAB054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49504" y="2258944"/>
            <a:ext cx="5640495" cy="418630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11649" y="5204193"/>
            <a:ext cx="273415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sz="1200" dirty="0">
                <a:latin typeface="Times New Roman" charset="0"/>
              </a:rPr>
            </a:br>
            <a:endParaRPr lang="en-US" sz="1200" dirty="0">
              <a:latin typeface="Times New Roman" charset="0"/>
            </a:endParaRPr>
          </a:p>
          <a:p>
            <a:br>
              <a:rPr lang="en-US" sz="1200" dirty="0">
                <a:latin typeface="Times New Roman" charset="0"/>
              </a:rPr>
            </a:br>
            <a:endParaRPr lang="en-US" sz="1200" dirty="0">
              <a:latin typeface="Times New Roman" charset="0"/>
            </a:endParaRPr>
          </a:p>
          <a:p>
            <a:r>
              <a:rPr lang="en-US" sz="1200" dirty="0">
                <a:solidFill>
                  <a:srgbClr val="2F2A2B"/>
                </a:solidFill>
                <a:latin typeface="Times New Roman" charset="0"/>
              </a:rPr>
              <a:t>CENTER </a:t>
            </a:r>
            <a:r>
              <a:rPr lang="en-US" sz="1200" i="1" dirty="0">
                <a:solidFill>
                  <a:srgbClr val="2F2A2B"/>
                </a:solidFill>
                <a:latin typeface="Times New Roman" charset="0"/>
              </a:rPr>
              <a:t>for </a:t>
            </a:r>
            <a:r>
              <a:rPr lang="en-US" sz="1200" dirty="0">
                <a:solidFill>
                  <a:srgbClr val="2F2A2B"/>
                </a:solidFill>
                <a:latin typeface="Times New Roman" charset="0"/>
              </a:rPr>
              <a:t>GREEN CHEMISTRY</a:t>
            </a:r>
          </a:p>
          <a:p>
            <a:r>
              <a:rPr lang="en-US" sz="1200" i="1" dirty="0">
                <a:solidFill>
                  <a:srgbClr val="2F2A2B"/>
                </a:solidFill>
                <a:latin typeface="Times New Roman" charset="0"/>
              </a:rPr>
              <a:t>and </a:t>
            </a:r>
            <a:r>
              <a:rPr lang="en-US" sz="1200" dirty="0">
                <a:solidFill>
                  <a:srgbClr val="2F2A2B"/>
                </a:solidFill>
                <a:latin typeface="Times New Roman" charset="0"/>
              </a:rPr>
              <a:t>GREEN ENGINEERING </a:t>
            </a:r>
            <a:r>
              <a:rPr lang="en-US" sz="1200" i="1" dirty="0">
                <a:solidFill>
                  <a:srgbClr val="2F2A2B"/>
                </a:solidFill>
                <a:latin typeface="Times New Roman" charset="0"/>
              </a:rPr>
              <a:t>at </a:t>
            </a:r>
            <a:r>
              <a:rPr lang="en-US" sz="1200" dirty="0">
                <a:solidFill>
                  <a:srgbClr val="2F2A2B"/>
                </a:solidFill>
                <a:latin typeface="Times New Roman" charset="0"/>
              </a:rPr>
              <a:t>YALE</a:t>
            </a:r>
            <a:endParaRPr lang="en-US" sz="1200" dirty="0">
              <a:solidFill>
                <a:srgbClr val="2F2A2B"/>
              </a:solidFill>
              <a:effectLst/>
              <a:latin typeface="Times New Roman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0350" y="4446658"/>
            <a:ext cx="1020198" cy="149629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46191" y="5460687"/>
            <a:ext cx="2643612" cy="68733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30724" y="4341829"/>
            <a:ext cx="2874547" cy="86236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96F60F9A-D5FF-DE4C-9BED-0576452613B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3674" y="320448"/>
            <a:ext cx="11246129" cy="1210900"/>
          </a:xfrm>
        </p:spPr>
        <p:txBody>
          <a:bodyPr>
            <a:noAutofit/>
          </a:bodyPr>
          <a:lstStyle/>
          <a:p>
            <a:r>
              <a:rPr lang="en-US" sz="4800" dirty="0">
                <a:solidFill>
                  <a:srgbClr val="00728A"/>
                </a:solidFill>
                <a:latin typeface="+mn-lt"/>
              </a:rPr>
              <a:t>Yale-UNIDO Train-the-Facilitator Workshop in Green Chemistry</a:t>
            </a:r>
            <a:endParaRPr lang="en-US" sz="4800" b="1" dirty="0">
              <a:solidFill>
                <a:srgbClr val="00728A"/>
              </a:solidFill>
              <a:latin typeface="+mn-lt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B34C36E-C37E-1148-9CBE-23DF881173D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964" y="2816379"/>
            <a:ext cx="3032234" cy="2274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78211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1059331" y="182419"/>
            <a:ext cx="1007333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Reduced Solvent: Sildenafil Citrate Production </a:t>
            </a:r>
          </a:p>
        </p:txBody>
      </p:sp>
      <p:sp>
        <p:nvSpPr>
          <p:cNvPr id="8" name="Rectangle 7"/>
          <p:cNvSpPr/>
          <p:nvPr/>
        </p:nvSpPr>
        <p:spPr>
          <a:xfrm>
            <a:off x="315686" y="1262177"/>
            <a:ext cx="1156062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Sildenafil citrate, commonly known as Viagra, is a selective inhibitor of phosphodiesterase 5 (PDE5). This new drug has immediately became a major seller, achieving sales of more than $1 billion during its first year on the market. With such a rapid sales take off it was critical that the environmental performance of the synthesis was good from the outset.</a:t>
            </a: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902" t="14551" b="28810"/>
          <a:stretch/>
        </p:blipFill>
        <p:spPr>
          <a:xfrm>
            <a:off x="2145552" y="4496666"/>
            <a:ext cx="2008386" cy="1999017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422310" y="2465341"/>
            <a:ext cx="5673689" cy="2031325"/>
          </a:xfrm>
          <a:prstGeom prst="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dirty="0"/>
              <a:t>Average yield of last three steps = 97% yield. </a:t>
            </a:r>
          </a:p>
          <a:p>
            <a:pPr marL="285750" indent="-285750">
              <a:buFont typeface="Arial" charset="0"/>
              <a:buChar char="•"/>
            </a:pPr>
            <a:r>
              <a:rPr lang="en-US" dirty="0"/>
              <a:t>Reduction of the ratio of solvent waste/kg product over 17 years from 1300 L/kg to only 7 L/kg by minimizing solvent use, increasing solvent recovery, improving solvent selection, and telescoping steps. </a:t>
            </a:r>
          </a:p>
          <a:p>
            <a:pPr marL="285750" indent="-285750">
              <a:buFont typeface="Arial" charset="0"/>
              <a:buChar char="•"/>
            </a:pPr>
            <a:r>
              <a:rPr lang="en-US" dirty="0"/>
              <a:t>Only the solvents </a:t>
            </a:r>
            <a:r>
              <a:rPr lang="en-US" i="1" dirty="0"/>
              <a:t>t</a:t>
            </a:r>
            <a:r>
              <a:rPr lang="en-US" dirty="0"/>
              <a:t>-butanol, ethyl acetate, 2-butanone, and a trace of toluene still require disposal.</a:t>
            </a: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89" t="3588" r="5472"/>
          <a:stretch/>
        </p:blipFill>
        <p:spPr>
          <a:xfrm>
            <a:off x="6210026" y="2125252"/>
            <a:ext cx="5029200" cy="3599689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5699818" y="5664686"/>
            <a:ext cx="604961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omparison of organic and aqueous waste and vapor emissions for the sildenafil citrate process at three time point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8839200" y="6495683"/>
            <a:ext cx="286520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Dunn, P.J et al </a:t>
            </a:r>
            <a:r>
              <a:rPr lang="is-IS" sz="1200" i="1" dirty="0">
                <a:solidFill>
                  <a:schemeClr val="bg1">
                    <a:lumMod val="50000"/>
                  </a:schemeClr>
                </a:solidFill>
                <a:hlinkClick r:id="rId4" tooltip="Link to journal home page"/>
              </a:rPr>
              <a:t>Green Chem.</a:t>
            </a:r>
            <a:r>
              <a:rPr lang="is-IS" sz="1200" dirty="0">
                <a:solidFill>
                  <a:schemeClr val="bg1">
                    <a:lumMod val="50000"/>
                  </a:schemeClr>
                </a:solidFill>
              </a:rPr>
              <a:t>, 2004, </a:t>
            </a:r>
            <a:r>
              <a:rPr lang="is-IS" sz="1200" b="1" dirty="0">
                <a:solidFill>
                  <a:schemeClr val="bg1">
                    <a:lumMod val="50000"/>
                  </a:schemeClr>
                </a:solidFill>
              </a:rPr>
              <a:t>6</a:t>
            </a:r>
            <a:r>
              <a:rPr lang="is-IS" sz="1200" dirty="0">
                <a:solidFill>
                  <a:schemeClr val="bg1">
                    <a:lumMod val="50000"/>
                  </a:schemeClr>
                </a:solidFill>
              </a:rPr>
              <a:t>, 43-48</a:t>
            </a:r>
            <a:endParaRPr lang="en-US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0A22A81-B30C-4520-8D52-D62A6EE1D6F4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204928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41E492F-87EF-4D20-9949-A3C5AFB3DC14}"/>
              </a:ext>
            </a:extLst>
          </p:cNvPr>
          <p:cNvSpPr txBox="1">
            <a:spLocks/>
          </p:cNvSpPr>
          <p:nvPr/>
        </p:nvSpPr>
        <p:spPr>
          <a:xfrm>
            <a:off x="1216020" y="3429000"/>
            <a:ext cx="9759954" cy="2062103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A one-pot, three step sequence.</a:t>
            </a:r>
          </a:p>
          <a:p>
            <a:r>
              <a:rPr lang="en-US" sz="2000" dirty="0"/>
              <a:t>Eliminates the need for several hazardous reagents such as ZnCl</a:t>
            </a:r>
            <a:r>
              <a:rPr lang="en-US" sz="2000" baseline="-25000" dirty="0"/>
              <a:t>2</a:t>
            </a:r>
            <a:r>
              <a:rPr lang="en-US" sz="2000" dirty="0"/>
              <a:t>, triphenylphosphine, and solvents such as dimethylformamide and dichloromethane.</a:t>
            </a:r>
          </a:p>
          <a:p>
            <a:r>
              <a:rPr lang="en-US" sz="2000" dirty="0"/>
              <a:t>E-factor improved by an order of magnitude.</a:t>
            </a:r>
          </a:p>
          <a:p>
            <a:r>
              <a:rPr lang="en-US" sz="2000" dirty="0"/>
              <a:t>Solvent consumption reduced by 95%, hazardous waste by 65%, </a:t>
            </a:r>
            <a:br>
              <a:rPr lang="en-US" sz="2000" dirty="0"/>
            </a:br>
            <a:r>
              <a:rPr lang="en-US" sz="2000" dirty="0"/>
              <a:t>preventing 1.5 million tons of hazardous waste per year.</a:t>
            </a:r>
          </a:p>
        </p:txBody>
      </p:sp>
      <p:sp>
        <p:nvSpPr>
          <p:cNvPr id="8" name="Rectangle 7"/>
          <p:cNvSpPr/>
          <p:nvPr/>
        </p:nvSpPr>
        <p:spPr>
          <a:xfrm>
            <a:off x="3434082" y="152400"/>
            <a:ext cx="532383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en-US" altLang="x-none" sz="4000" b="1" dirty="0"/>
              <a:t>Reduced Solvent: dNTPs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67804" y="1542582"/>
            <a:ext cx="1085638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They are the building blocks of both DNA and RNA, which are chains of nucleotides made through the processes of DNA replication and transcription.</a:t>
            </a:r>
            <a:r>
              <a:rPr lang="en-US" sz="2000" baseline="30000" dirty="0"/>
              <a:t> </a:t>
            </a:r>
            <a:r>
              <a:rPr lang="en-US" sz="2000" dirty="0"/>
              <a:t>Nucleoside triphosphates also serve as a source of energy for cellular reactions and are involved in signaling pathways. Nowadays they are synthesized and used in molecular biology.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2013344-6E20-431A-ABD5-B2DDFD04904E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31884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994443" y="159818"/>
            <a:ext cx="1020311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Reduced Solvent: Production of Ethylene Oxid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26098" y="1446028"/>
            <a:ext cx="1153980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Ethylene oxide is used as an intermediate in the </a:t>
            </a:r>
            <a:r>
              <a:rPr lang="en-US" sz="2000" b="1" dirty="0"/>
              <a:t>production</a:t>
            </a:r>
            <a:r>
              <a:rPr lang="en-US" sz="2000" dirty="0"/>
              <a:t> of several industrial chemicals, the most notable of which is ethylene glycol. It is also used as a fumigant in certain agricultural products and as a sterilant for medical equipment and supplies.</a:t>
            </a:r>
          </a:p>
        </p:txBody>
      </p:sp>
      <p:sp>
        <p:nvSpPr>
          <p:cNvPr id="11" name="Rectangle 10"/>
          <p:cNvSpPr/>
          <p:nvPr/>
        </p:nvSpPr>
        <p:spPr>
          <a:xfrm>
            <a:off x="755374" y="3415479"/>
            <a:ext cx="5340626" cy="1477328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dirty="0"/>
              <a:t>Use of molecular oxygen removed the need for chlorine.</a:t>
            </a:r>
          </a:p>
          <a:p>
            <a:pPr marL="285750" indent="-285750">
              <a:buFont typeface="Arial" charset="0"/>
              <a:buChar char="•"/>
            </a:pPr>
            <a:r>
              <a:rPr lang="en-US" dirty="0"/>
              <a:t>New process generated more than 16 times less waste than the original one, eliminating the formation of waste water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3FCF41A-10D6-476C-B32F-29617A436AE1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Objeto 1">
            <a:extLst>
              <a:ext uri="{FF2B5EF4-FFF2-40B4-BE49-F238E27FC236}">
                <a16:creationId xmlns:a16="http://schemas.microsoft.com/office/drawing/2014/main" id="{E3DDA360-0B66-45ED-8FDD-06D0079FE07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50415381"/>
              </p:ext>
            </p:extLst>
          </p:nvPr>
        </p:nvGraphicFramePr>
        <p:xfrm>
          <a:off x="6280150" y="3670082"/>
          <a:ext cx="5156476" cy="9681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5" name="CS ChemDraw Drawing" r:id="rId3" imgW="3187732" imgH="598791" progId="ChemDraw.Document.6.0">
                  <p:embed/>
                </p:oleObj>
              </mc:Choice>
              <mc:Fallback>
                <p:oleObj name="CS ChemDraw Drawing" r:id="rId3" imgW="3187732" imgH="598791" progId="ChemDraw.Document.6.0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6280150" y="3670082"/>
                        <a:ext cx="5156476" cy="9681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309675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62200" y="226838"/>
            <a:ext cx="7467600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Utilizing Waste as a Feedstock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36472" y="1874272"/>
            <a:ext cx="7816121" cy="2544286"/>
          </a:xfr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dirty="0"/>
              <a:t>Some e</a:t>
            </a:r>
            <a:r>
              <a:rPr lang="en-US" dirty="0">
                <a:latin typeface="+mn-lt"/>
              </a:rPr>
              <a:t>xamples:</a:t>
            </a:r>
          </a:p>
          <a:p>
            <a:r>
              <a:rPr lang="en-US" dirty="0"/>
              <a:t>Waste cooking oil for biodiesel</a:t>
            </a:r>
          </a:p>
          <a:p>
            <a:r>
              <a:rPr lang="en-US" dirty="0"/>
              <a:t>Glycerol for lactic acid using catalyst</a:t>
            </a:r>
          </a:p>
          <a:p>
            <a:r>
              <a:rPr lang="en-US" dirty="0"/>
              <a:t>Red mud for bricks</a:t>
            </a:r>
          </a:p>
          <a:p>
            <a:r>
              <a:rPr lang="en-US" dirty="0"/>
              <a:t>Crustacean shell waste for chitosan based product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A36AF81-313D-4214-8496-F5E127F2AB18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291658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7514" y="346259"/>
            <a:ext cx="8756971" cy="550856"/>
          </a:xfrm>
        </p:spPr>
        <p:txBody>
          <a:bodyPr wrap="square">
            <a:spAutoFit/>
          </a:bodyPr>
          <a:lstStyle/>
          <a:p>
            <a:pPr algn="ctr">
              <a:lnSpc>
                <a:spcPts val="3500"/>
              </a:lnSpc>
            </a:pPr>
            <a:r>
              <a:rPr lang="en-US" altLang="en-US" sz="3600" b="1" dirty="0">
                <a:latin typeface="+mn-lt"/>
              </a:rPr>
              <a:t>Example: Used oils as biofuel source</a:t>
            </a:r>
            <a:endParaRPr lang="en-US" sz="3600" b="1" dirty="0">
              <a:latin typeface="+mn-lt"/>
            </a:endParaRPr>
          </a:p>
        </p:txBody>
      </p:sp>
      <p:graphicFrame>
        <p:nvGraphicFramePr>
          <p:cNvPr id="4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67614722"/>
              </p:ext>
            </p:extLst>
          </p:nvPr>
        </p:nvGraphicFramePr>
        <p:xfrm>
          <a:off x="3563452" y="3124490"/>
          <a:ext cx="6521728" cy="27745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" name="CS ChemDraw Drawing" r:id="rId3" imgW="3940878" imgH="1678160" progId="ChemDraw.Document.6.0">
                  <p:embed/>
                </p:oleObj>
              </mc:Choice>
              <mc:Fallback>
                <p:oleObj name="CS ChemDraw Drawing" r:id="rId3" imgW="3940878" imgH="1678160" progId="ChemDraw.Document.6.0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563452" y="3124490"/>
                        <a:ext cx="6521728" cy="277459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4"/>
          <p:cNvSpPr txBox="1">
            <a:spLocks noChangeArrowheads="1"/>
          </p:cNvSpPr>
          <p:nvPr/>
        </p:nvSpPr>
        <p:spPr bwMode="auto">
          <a:xfrm>
            <a:off x="8809709" y="5949526"/>
            <a:ext cx="1538288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2400" dirty="0"/>
              <a:t>Bio-diesel</a:t>
            </a:r>
          </a:p>
        </p:txBody>
      </p:sp>
      <p:sp>
        <p:nvSpPr>
          <p:cNvPr id="9" name="Right Arrow 10"/>
          <p:cNvSpPr>
            <a:spLocks noChangeArrowheads="1"/>
          </p:cNvSpPr>
          <p:nvPr/>
        </p:nvSpPr>
        <p:spPr bwMode="auto">
          <a:xfrm>
            <a:off x="2781583" y="4130786"/>
            <a:ext cx="631825" cy="381000"/>
          </a:xfrm>
          <a:prstGeom prst="rightArrow">
            <a:avLst>
              <a:gd name="adj1" fmla="val 50000"/>
              <a:gd name="adj2" fmla="val 49911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endParaRPr lang="en-US" altLang="en-US" sz="240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CAC9BE1-96D3-4F28-B751-53430409F6CF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8879726"/>
              </p:ext>
            </p:extLst>
          </p:nvPr>
        </p:nvGraphicFramePr>
        <p:xfrm>
          <a:off x="120446" y="6502098"/>
          <a:ext cx="12140380" cy="304800"/>
        </p:xfrm>
        <a:graphic>
          <a:graphicData uri="http://schemas.openxmlformats.org/drawingml/2006/table">
            <a:tbl>
              <a:tblPr/>
              <a:tblGrid>
                <a:gridCol w="12140380">
                  <a:extLst>
                    <a:ext uri="{9D8B030D-6E8A-4147-A177-3AD203B41FA5}">
                      <a16:colId xmlns:a16="http://schemas.microsoft.com/office/drawing/2014/main" val="198805029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400" dirty="0"/>
                        <a:t>Leung, D. Y. C., &amp; Guo, Y. (2006). Transesterification of neat and used frying oil: optimization for biodiesel production. </a:t>
                      </a:r>
                      <a:r>
                        <a:rPr lang="en-US" sz="1400" i="1" dirty="0"/>
                        <a:t>Fuel processing technology</a:t>
                      </a:r>
                      <a:r>
                        <a:rPr lang="en-US" sz="1400" dirty="0"/>
                        <a:t>, </a:t>
                      </a:r>
                      <a:r>
                        <a:rPr lang="en-US" sz="1400" i="1" dirty="0"/>
                        <a:t>87</a:t>
                      </a:r>
                      <a:r>
                        <a:rPr lang="en-US" sz="1400" dirty="0"/>
                        <a:t>(10), 883-890.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5791996"/>
                  </a:ext>
                </a:extLst>
              </a:tr>
            </a:tbl>
          </a:graphicData>
        </a:graphic>
      </p:graphicFrame>
      <p:pic>
        <p:nvPicPr>
          <p:cNvPr id="12" name="Picture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218" y="3604300"/>
            <a:ext cx="2417322" cy="1814973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665790" y="5430804"/>
            <a:ext cx="29910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/>
              <a:t>Used frying oi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12954" y="1599077"/>
            <a:ext cx="1160206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Biodiesel from virgin vegetable oil is considered first generation biofuel because it competes with food</a:t>
            </a:r>
          </a:p>
          <a:p>
            <a:r>
              <a:rPr lang="en-US" sz="2400" dirty="0"/>
              <a:t>=&gt; Turning to waste can offer a solution: frying oil can be used instead. </a:t>
            </a:r>
          </a:p>
        </p:txBody>
      </p:sp>
    </p:spTree>
    <p:extLst>
      <p:ext uri="{BB962C8B-B14F-4D97-AF65-F5344CB8AC3E}">
        <p14:creationId xmlns:p14="http://schemas.microsoft.com/office/powerpoint/2010/main" val="142626382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59188681"/>
              </p:ext>
            </p:extLst>
          </p:nvPr>
        </p:nvGraphicFramePr>
        <p:xfrm>
          <a:off x="849742" y="1443170"/>
          <a:ext cx="6521728" cy="27745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7" name="CS ChemDraw Drawing" r:id="rId3" imgW="3940878" imgH="1678160" progId="ChemDraw.Document.6.0">
                  <p:embed/>
                </p:oleObj>
              </mc:Choice>
              <mc:Fallback>
                <p:oleObj name="CS ChemDraw Drawing" r:id="rId3" imgW="3940878" imgH="1678160" progId="ChemDraw.Document.6.0">
                  <p:embed/>
                  <p:pic>
                    <p:nvPicPr>
                      <p:cNvPr id="4" name="Object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49742" y="1443170"/>
                        <a:ext cx="6521728" cy="277459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6"/>
          <p:cNvSpPr txBox="1">
            <a:spLocks noChangeArrowheads="1"/>
          </p:cNvSpPr>
          <p:nvPr/>
        </p:nvSpPr>
        <p:spPr bwMode="auto">
          <a:xfrm>
            <a:off x="7845946" y="2535973"/>
            <a:ext cx="3982390" cy="29700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ts val="600"/>
              </a:spcBef>
              <a:buClrTx/>
              <a:buFont typeface="Arial" panose="020B0604020202020204" pitchFamily="34" charset="0"/>
              <a:buChar char="•"/>
            </a:pPr>
            <a:r>
              <a:rPr lang="en-US" altLang="en-US" sz="1800" dirty="0">
                <a:latin typeface="+mn-lt"/>
              </a:rPr>
              <a:t>2011 US bio-diesel production reached 967 million gallons.</a:t>
            </a:r>
          </a:p>
          <a:p>
            <a:pPr lvl="1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en-US" sz="1800" dirty="0">
                <a:latin typeface="+mn-lt"/>
              </a:rPr>
              <a:t>1 Olympic-size swimming =  approximately 660,000 gallons.</a:t>
            </a:r>
          </a:p>
          <a:p>
            <a:pPr lvl="1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en-US" sz="1800" dirty="0">
                <a:latin typeface="+mn-lt"/>
              </a:rPr>
              <a:t>Almost 1460 Olympic-sized swimming pools of glycerol.</a:t>
            </a:r>
          </a:p>
          <a:p>
            <a:pPr>
              <a:spcBef>
                <a:spcPts val="600"/>
              </a:spcBef>
              <a:buClrTx/>
              <a:buFont typeface="Arial" panose="020B0604020202020204" pitchFamily="34" charset="0"/>
              <a:buChar char="•"/>
            </a:pPr>
            <a:r>
              <a:rPr lang="en-US" altLang="en-US" sz="1800" dirty="0">
                <a:latin typeface="+mn-lt"/>
              </a:rPr>
              <a:t>Current treatment:</a:t>
            </a:r>
          </a:p>
          <a:p>
            <a:pPr lvl="1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en-US" sz="1800" dirty="0">
                <a:latin typeface="+mn-lt"/>
              </a:rPr>
              <a:t>Dispose (sold for $240/ton!).</a:t>
            </a:r>
          </a:p>
          <a:p>
            <a:pPr lvl="1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en-US" sz="1800" dirty="0">
                <a:latin typeface="+mn-lt"/>
              </a:rPr>
              <a:t>Combust as fuel.</a:t>
            </a:r>
          </a:p>
        </p:txBody>
      </p:sp>
      <p:sp>
        <p:nvSpPr>
          <p:cNvPr id="6" name="Rectangle 5"/>
          <p:cNvSpPr/>
          <p:nvPr/>
        </p:nvSpPr>
        <p:spPr>
          <a:xfrm>
            <a:off x="648285" y="6134920"/>
            <a:ext cx="672318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Chen, L.; Ren, S.; Ye, X. P., </a:t>
            </a:r>
            <a:r>
              <a:rPr lang="en-US" sz="1200" i="1" dirty="0">
                <a:solidFill>
                  <a:schemeClr val="bg1">
                    <a:lumMod val="50000"/>
                  </a:schemeClr>
                </a:solidFill>
              </a:rPr>
              <a:t>Fuel Processing Technology </a:t>
            </a:r>
            <a:r>
              <a:rPr lang="en-US" sz="1200" b="1" dirty="0">
                <a:solidFill>
                  <a:schemeClr val="bg1">
                    <a:lumMod val="50000"/>
                  </a:schemeClr>
                </a:solidFill>
              </a:rPr>
              <a:t>2014,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200" i="1" dirty="0">
                <a:solidFill>
                  <a:schemeClr val="bg1">
                    <a:lumMod val="50000"/>
                  </a:schemeClr>
                </a:solidFill>
              </a:rPr>
              <a:t>120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, 40-47.</a:t>
            </a:r>
          </a:p>
          <a:p>
            <a:pPr>
              <a:defRPr/>
            </a:pP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T.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Werpy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, G. Petersen, Top value added chemicals from biomass, Pacific Northwest National Laboratory (PNNL), National Renewable Energy Laboratory (NREL), Office of Biomass Program (EERE), 2004.</a:t>
            </a:r>
          </a:p>
        </p:txBody>
      </p:sp>
      <p:sp>
        <p:nvSpPr>
          <p:cNvPr id="7" name="Right Arrow 3"/>
          <p:cNvSpPr>
            <a:spLocks noChangeArrowheads="1"/>
          </p:cNvSpPr>
          <p:nvPr/>
        </p:nvSpPr>
        <p:spPr bwMode="auto">
          <a:xfrm rot="16200000">
            <a:off x="6387024" y="4528911"/>
            <a:ext cx="633413" cy="381000"/>
          </a:xfrm>
          <a:prstGeom prst="rightArrow">
            <a:avLst>
              <a:gd name="adj1" fmla="val 50000"/>
              <a:gd name="adj2" fmla="val 50037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endParaRPr lang="en-US" altLang="en-US" sz="2400"/>
          </a:p>
        </p:txBody>
      </p:sp>
      <p:sp>
        <p:nvSpPr>
          <p:cNvPr id="8" name="TextBox 4"/>
          <p:cNvSpPr txBox="1">
            <a:spLocks noChangeArrowheads="1"/>
          </p:cNvSpPr>
          <p:nvPr/>
        </p:nvSpPr>
        <p:spPr bwMode="auto">
          <a:xfrm>
            <a:off x="5934583" y="5044055"/>
            <a:ext cx="1538288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2400" dirty="0"/>
              <a:t>Bio-diesel</a:t>
            </a:r>
          </a:p>
        </p:txBody>
      </p:sp>
      <p:sp>
        <p:nvSpPr>
          <p:cNvPr id="9" name="Right Arrow 10"/>
          <p:cNvSpPr>
            <a:spLocks noChangeArrowheads="1"/>
          </p:cNvSpPr>
          <p:nvPr/>
        </p:nvSpPr>
        <p:spPr bwMode="auto">
          <a:xfrm rot="16200000">
            <a:off x="4591271" y="4528116"/>
            <a:ext cx="631825" cy="381000"/>
          </a:xfrm>
          <a:prstGeom prst="rightArrow">
            <a:avLst>
              <a:gd name="adj1" fmla="val 50000"/>
              <a:gd name="adj2" fmla="val 49911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endParaRPr lang="en-US" altLang="en-US" sz="2400"/>
          </a:p>
        </p:txBody>
      </p:sp>
      <p:sp>
        <p:nvSpPr>
          <p:cNvPr id="10" name="TextBox 11"/>
          <p:cNvSpPr txBox="1">
            <a:spLocks noChangeArrowheads="1"/>
          </p:cNvSpPr>
          <p:nvPr/>
        </p:nvSpPr>
        <p:spPr bwMode="auto">
          <a:xfrm>
            <a:off x="4278533" y="5045645"/>
            <a:ext cx="1257300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2400" dirty="0"/>
              <a:t>“Waste”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CAC9BE1-96D3-4F28-B751-53430409F6CF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015613" y="239335"/>
            <a:ext cx="8107659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altLang="en-US" sz="4000" b="1" dirty="0">
                <a:latin typeface="+mn-lt"/>
              </a:rPr>
              <a:t>Glycerol: a waste of biodiesel</a:t>
            </a:r>
          </a:p>
        </p:txBody>
      </p:sp>
    </p:spTree>
    <p:extLst>
      <p:ext uri="{BB962C8B-B14F-4D97-AF65-F5344CB8AC3E}">
        <p14:creationId xmlns:p14="http://schemas.microsoft.com/office/powerpoint/2010/main" val="16276108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2015613" y="239335"/>
            <a:ext cx="8107659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altLang="en-US" sz="4000" b="1" dirty="0">
                <a:latin typeface="+mn-lt"/>
              </a:rPr>
              <a:t>Glycerol: a waste of biodiesel</a:t>
            </a:r>
          </a:p>
        </p:txBody>
      </p:sp>
      <p:graphicFrame>
        <p:nvGraphicFramePr>
          <p:cNvPr id="20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36963393"/>
              </p:ext>
            </p:extLst>
          </p:nvPr>
        </p:nvGraphicFramePr>
        <p:xfrm>
          <a:off x="5410200" y="3429000"/>
          <a:ext cx="1225550" cy="8001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9" name="CS ChemDraw Drawing" r:id="rId4" imgW="958821" imgH="621886" progId="ChemDraw.Document.6.0">
                  <p:embed/>
                </p:oleObj>
              </mc:Choice>
              <mc:Fallback>
                <p:oleObj name="CS ChemDraw Drawing" r:id="rId4" imgW="958821" imgH="621886" progId="ChemDraw.Document.6.0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410200" y="3429000"/>
                        <a:ext cx="1225550" cy="8001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ight Arrow 20"/>
          <p:cNvSpPr>
            <a:spLocks noChangeAspect="1"/>
          </p:cNvSpPr>
          <p:nvPr/>
        </p:nvSpPr>
        <p:spPr>
          <a:xfrm rot="19923074">
            <a:off x="6747455" y="2842656"/>
            <a:ext cx="904875" cy="2825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2" name="Right Arrow 21"/>
          <p:cNvSpPr>
            <a:spLocks noChangeAspect="1"/>
          </p:cNvSpPr>
          <p:nvPr/>
        </p:nvSpPr>
        <p:spPr>
          <a:xfrm>
            <a:off x="6913565" y="3602041"/>
            <a:ext cx="904875" cy="2825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3" name="Right Arrow 22"/>
          <p:cNvSpPr>
            <a:spLocks noChangeAspect="1"/>
          </p:cNvSpPr>
          <p:nvPr/>
        </p:nvSpPr>
        <p:spPr>
          <a:xfrm rot="1890968">
            <a:off x="6699036" y="4430950"/>
            <a:ext cx="904875" cy="2825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graphicFrame>
        <p:nvGraphicFramePr>
          <p:cNvPr id="24" name="Object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14763797"/>
              </p:ext>
            </p:extLst>
          </p:nvPr>
        </p:nvGraphicFramePr>
        <p:xfrm>
          <a:off x="7665780" y="2164964"/>
          <a:ext cx="846137" cy="1063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0" name="CS ChemDraw Drawing" r:id="rId6" imgW="663245" imgH="833565" progId="ChemDraw.Document.6.0">
                  <p:embed/>
                </p:oleObj>
              </mc:Choice>
              <mc:Fallback>
                <p:oleObj name="CS ChemDraw Drawing" r:id="rId6" imgW="663245" imgH="833565" progId="ChemDraw.Document.6.0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665780" y="2164964"/>
                        <a:ext cx="846137" cy="10636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" name="Object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57759001"/>
              </p:ext>
            </p:extLst>
          </p:nvPr>
        </p:nvGraphicFramePr>
        <p:xfrm>
          <a:off x="7941661" y="3383433"/>
          <a:ext cx="1227138" cy="1063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1" name="CS ChemDraw Drawing" r:id="rId8" imgW="961790" imgH="833565" progId="ChemDraw.Document.6.0">
                  <p:embed/>
                </p:oleObj>
              </mc:Choice>
              <mc:Fallback>
                <p:oleObj name="CS ChemDraw Drawing" r:id="rId8" imgW="961790" imgH="833565" progId="ChemDraw.Document.6.0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941661" y="3383433"/>
                        <a:ext cx="1227138" cy="10636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6" name="Object 1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22160233"/>
              </p:ext>
            </p:extLst>
          </p:nvPr>
        </p:nvGraphicFramePr>
        <p:xfrm>
          <a:off x="7547403" y="4644744"/>
          <a:ext cx="1327150" cy="8397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2" name="CS ChemDraw Drawing" r:id="rId10" imgW="1040667" imgH="658368" progId="ChemDraw.Document.6.0">
                  <p:embed/>
                </p:oleObj>
              </mc:Choice>
              <mc:Fallback>
                <p:oleObj name="CS ChemDraw Drawing" r:id="rId10" imgW="1040667" imgH="658368" progId="ChemDraw.Document.6.0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547403" y="4644744"/>
                        <a:ext cx="1327150" cy="8397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extBox 26"/>
          <p:cNvSpPr txBox="1">
            <a:spLocks noChangeAspect="1"/>
          </p:cNvSpPr>
          <p:nvPr/>
        </p:nvSpPr>
        <p:spPr>
          <a:xfrm>
            <a:off x="8594009" y="2385475"/>
            <a:ext cx="138819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400" b="1" dirty="0"/>
              <a:t>Polylactic acid</a:t>
            </a:r>
          </a:p>
        </p:txBody>
      </p:sp>
      <p:sp>
        <p:nvSpPr>
          <p:cNvPr id="28" name="TextBox 13"/>
          <p:cNvSpPr txBox="1">
            <a:spLocks noChangeAspect="1" noChangeArrowheads="1"/>
          </p:cNvSpPr>
          <p:nvPr/>
        </p:nvSpPr>
        <p:spPr bwMode="auto">
          <a:xfrm>
            <a:off x="9224963" y="3378566"/>
            <a:ext cx="1136650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1400" b="1" dirty="0">
                <a:latin typeface="+mn-lt"/>
              </a:rPr>
              <a:t>Valuable medicinal product</a:t>
            </a:r>
          </a:p>
        </p:txBody>
      </p:sp>
      <p:sp>
        <p:nvSpPr>
          <p:cNvPr id="29" name="TextBox 14"/>
          <p:cNvSpPr txBox="1">
            <a:spLocks noChangeAspect="1" noChangeArrowheads="1"/>
          </p:cNvSpPr>
          <p:nvPr/>
        </p:nvSpPr>
        <p:spPr bwMode="auto">
          <a:xfrm>
            <a:off x="9050337" y="4541821"/>
            <a:ext cx="1311276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1400" b="1" dirty="0">
                <a:latin typeface="+mn-lt"/>
              </a:rPr>
              <a:t>Sunless tanning product</a:t>
            </a:r>
          </a:p>
        </p:txBody>
      </p:sp>
      <p:graphicFrame>
        <p:nvGraphicFramePr>
          <p:cNvPr id="2" name="Objec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08311487"/>
              </p:ext>
            </p:extLst>
          </p:nvPr>
        </p:nvGraphicFramePr>
        <p:xfrm>
          <a:off x="2875253" y="3505202"/>
          <a:ext cx="1053649" cy="7954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3" name="CS ChemDraw Drawing" r:id="rId12" imgW="829056" imgH="626128" progId="ChemDraw.Document.6.0">
                  <p:embed/>
                </p:oleObj>
              </mc:Choice>
              <mc:Fallback>
                <p:oleObj name="CS ChemDraw Drawing" r:id="rId12" imgW="829056" imgH="626128" progId="ChemDraw.Document.6.0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875253" y="3505202"/>
                        <a:ext cx="1053649" cy="7954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26885092"/>
              </p:ext>
            </p:extLst>
          </p:nvPr>
        </p:nvGraphicFramePr>
        <p:xfrm>
          <a:off x="2985703" y="4673061"/>
          <a:ext cx="1689100" cy="1171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4" name="CS ChemDraw Drawing" r:id="rId14" imgW="1258638" imgH="873441" progId="ChemDraw.Document.6.0">
                  <p:embed/>
                </p:oleObj>
              </mc:Choice>
              <mc:Fallback>
                <p:oleObj name="CS ChemDraw Drawing" r:id="rId14" imgW="1258638" imgH="873441" progId="ChemDraw.Document.6.0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985703" y="4673061"/>
                        <a:ext cx="1689100" cy="11715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ight Arrow 29"/>
          <p:cNvSpPr>
            <a:spLocks noChangeAspect="1"/>
          </p:cNvSpPr>
          <p:nvPr/>
        </p:nvSpPr>
        <p:spPr>
          <a:xfrm rot="10800000">
            <a:off x="4138780" y="3602040"/>
            <a:ext cx="904875" cy="2825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1" name="Right Arrow 30"/>
          <p:cNvSpPr>
            <a:spLocks noChangeAspect="1"/>
          </p:cNvSpPr>
          <p:nvPr/>
        </p:nvSpPr>
        <p:spPr>
          <a:xfrm rot="9062402">
            <a:off x="4437326" y="4400536"/>
            <a:ext cx="904875" cy="2825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2" name="TextBox 13"/>
          <p:cNvSpPr txBox="1">
            <a:spLocks noChangeAspect="1" noChangeArrowheads="1"/>
          </p:cNvSpPr>
          <p:nvPr/>
        </p:nvSpPr>
        <p:spPr bwMode="auto">
          <a:xfrm>
            <a:off x="2257863" y="4797243"/>
            <a:ext cx="138648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1400" b="1" dirty="0">
                <a:latin typeface="+mn-lt"/>
              </a:rPr>
              <a:t>Anti-freeze</a:t>
            </a:r>
          </a:p>
        </p:txBody>
      </p:sp>
      <p:sp>
        <p:nvSpPr>
          <p:cNvPr id="33" name="TextBox 13"/>
          <p:cNvSpPr txBox="1">
            <a:spLocks noChangeAspect="1" noChangeArrowheads="1"/>
          </p:cNvSpPr>
          <p:nvPr/>
        </p:nvSpPr>
        <p:spPr bwMode="auto">
          <a:xfrm>
            <a:off x="1815463" y="3454403"/>
            <a:ext cx="1386489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1400" b="1" dirty="0">
                <a:latin typeface="+mn-lt"/>
              </a:rPr>
              <a:t>Industrial chemical precursors</a:t>
            </a:r>
          </a:p>
        </p:txBody>
      </p:sp>
      <p:graphicFrame>
        <p:nvGraphicFramePr>
          <p:cNvPr id="34" name="Object 3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6643408"/>
              </p:ext>
            </p:extLst>
          </p:nvPr>
        </p:nvGraphicFramePr>
        <p:xfrm>
          <a:off x="3374980" y="2164964"/>
          <a:ext cx="968413" cy="78409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" name="CS ChemDraw Drawing" r:id="rId16" imgW="800219" imgH="652429" progId="ChemDraw.Document.6.0">
                  <p:embed/>
                </p:oleObj>
              </mc:Choice>
              <mc:Fallback>
                <p:oleObj name="CS ChemDraw Drawing" r:id="rId16" imgW="800219" imgH="652429" progId="ChemDraw.Document.6.0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3374980" y="2164964"/>
                        <a:ext cx="968413" cy="78409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ight Arrow 34"/>
          <p:cNvSpPr>
            <a:spLocks noChangeAspect="1"/>
          </p:cNvSpPr>
          <p:nvPr/>
        </p:nvSpPr>
        <p:spPr>
          <a:xfrm rot="12632703">
            <a:off x="4434508" y="2812299"/>
            <a:ext cx="904875" cy="2825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6" name="TextBox 13"/>
          <p:cNvSpPr txBox="1">
            <a:spLocks noChangeAspect="1" noChangeArrowheads="1"/>
          </p:cNvSpPr>
          <p:nvPr/>
        </p:nvSpPr>
        <p:spPr bwMode="auto">
          <a:xfrm>
            <a:off x="2297259" y="2119133"/>
            <a:ext cx="1070273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1400" b="1" dirty="0">
                <a:latin typeface="+mn-lt"/>
              </a:rPr>
              <a:t>Skin exfoliating reagent</a:t>
            </a:r>
          </a:p>
        </p:txBody>
      </p:sp>
      <p:sp>
        <p:nvSpPr>
          <p:cNvPr id="5" name="Oval 4"/>
          <p:cNvSpPr>
            <a:spLocks noChangeAspect="1"/>
          </p:cNvSpPr>
          <p:nvPr/>
        </p:nvSpPr>
        <p:spPr>
          <a:xfrm>
            <a:off x="7151472" y="1908474"/>
            <a:ext cx="2971800" cy="14478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03CDC005-7562-4329-9A5F-DCE316E4A62E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036053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itle 1"/>
          <p:cNvSpPr>
            <a:spLocks noGrp="1"/>
          </p:cNvSpPr>
          <p:nvPr>
            <p:ph type="title"/>
          </p:nvPr>
        </p:nvSpPr>
        <p:spPr>
          <a:xfrm>
            <a:off x="914400" y="-134203"/>
            <a:ext cx="10363200" cy="1323439"/>
          </a:xfrm>
        </p:spPr>
        <p:txBody>
          <a:bodyPr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altLang="en-US" sz="4000" b="1" dirty="0">
                <a:latin typeface="+mn-lt"/>
              </a:rPr>
              <a:t>Production and Applications of Lactic Acid- Conventional process</a:t>
            </a:r>
          </a:p>
        </p:txBody>
      </p:sp>
      <p:sp>
        <p:nvSpPr>
          <p:cNvPr id="27652" name="TextBox 4"/>
          <p:cNvSpPr txBox="1">
            <a:spLocks noChangeArrowheads="1"/>
          </p:cNvSpPr>
          <p:nvPr/>
        </p:nvSpPr>
        <p:spPr bwMode="auto">
          <a:xfrm>
            <a:off x="1235894" y="4222380"/>
            <a:ext cx="4343400" cy="147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indent="0">
              <a:spcBef>
                <a:spcPct val="0"/>
              </a:spcBef>
              <a:buClrTx/>
              <a:buNone/>
            </a:pPr>
            <a:r>
              <a:rPr lang="en-US" altLang="en-US" sz="1800" dirty="0">
                <a:solidFill>
                  <a:srgbClr val="FF0000"/>
                </a:solidFill>
                <a:latin typeface="+mn-lt"/>
              </a:rPr>
              <a:t>90% of lactic acid </a:t>
            </a:r>
            <a:r>
              <a:rPr lang="en-US" altLang="en-US" sz="1800" dirty="0">
                <a:latin typeface="+mn-lt"/>
              </a:rPr>
              <a:t>comes from anaerobic fermentation of hexose sugar (e.g. corn starch).</a:t>
            </a:r>
          </a:p>
          <a:p>
            <a:pPr marL="457200" indent="-228600"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r>
              <a:rPr lang="en-US" altLang="en-US" sz="1800" dirty="0">
                <a:latin typeface="+mn-lt"/>
              </a:rPr>
              <a:t>Compete with food sources.</a:t>
            </a:r>
          </a:p>
          <a:p>
            <a:pPr marL="457200" indent="-228600"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r>
              <a:rPr lang="en-US" altLang="en-US" sz="1800" dirty="0">
                <a:latin typeface="+mn-lt"/>
              </a:rPr>
              <a:t>Slow and requires a lot of purifications.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7261" y="1863265"/>
            <a:ext cx="4613889" cy="4498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/>
          <p:nvPr/>
        </p:nvSpPr>
        <p:spPr>
          <a:xfrm>
            <a:off x="868227" y="5977425"/>
            <a:ext cx="784039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See: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Dusselier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i="1" dirty="0">
                <a:latin typeface="Arial" panose="020B0604020202020204" pitchFamily="34" charset="0"/>
                <a:cs typeface="Arial" panose="020B0604020202020204" pitchFamily="34" charset="0"/>
              </a:rPr>
              <a:t>et al.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i="1" dirty="0">
                <a:latin typeface="Arial" panose="020B0604020202020204" pitchFamily="34" charset="0"/>
                <a:cs typeface="Arial" panose="020B0604020202020204" pitchFamily="34" charset="0"/>
              </a:rPr>
              <a:t>Energy Environ. Sci.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2013,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i="1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, 1415-1442.</a:t>
            </a:r>
          </a:p>
        </p:txBody>
      </p:sp>
      <p:sp>
        <p:nvSpPr>
          <p:cNvPr id="8" name="TextBox 4"/>
          <p:cNvSpPr txBox="1">
            <a:spLocks noChangeArrowheads="1"/>
          </p:cNvSpPr>
          <p:nvPr/>
        </p:nvSpPr>
        <p:spPr bwMode="auto">
          <a:xfrm>
            <a:off x="1235894" y="1725926"/>
            <a:ext cx="4440896" cy="17851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lvl="1" indent="-274320">
              <a:spcBef>
                <a:spcPts val="600"/>
              </a:spcBef>
              <a:buNone/>
            </a:pPr>
            <a:r>
              <a:rPr lang="en-US" altLang="en-US" sz="1800" dirty="0">
                <a:latin typeface="+mn-lt"/>
              </a:rPr>
              <a:t>Other applications of Lactic Acid:</a:t>
            </a:r>
          </a:p>
          <a:p>
            <a:pPr marL="457200" lvl="1" indent="-2286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en-US" sz="1800" dirty="0">
                <a:latin typeface="+mn-lt"/>
              </a:rPr>
              <a:t>Food preservatives</a:t>
            </a:r>
          </a:p>
          <a:p>
            <a:pPr marL="457200" lvl="1" indent="-2286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en-US" sz="1800" dirty="0">
                <a:latin typeface="+mn-lt"/>
              </a:rPr>
              <a:t>Edible pH modifier</a:t>
            </a:r>
          </a:p>
          <a:p>
            <a:pPr marL="457200" lvl="1" indent="-2286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en-US" sz="1800" dirty="0">
                <a:latin typeface="+mn-lt"/>
              </a:rPr>
              <a:t>Textile industry </a:t>
            </a:r>
          </a:p>
          <a:p>
            <a:pPr marL="457200" lvl="1" indent="-2286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en-US" sz="1800" dirty="0">
                <a:latin typeface="+mn-lt"/>
              </a:rPr>
              <a:t>Cosmetic and pharmaceutical industri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9930E18-9DAF-4FE2-8DF4-C16AE97F9FB8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93378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58" name="TextBox 14"/>
          <p:cNvSpPr txBox="1">
            <a:spLocks noChangeArrowheads="1"/>
          </p:cNvSpPr>
          <p:nvPr/>
        </p:nvSpPr>
        <p:spPr bwMode="auto">
          <a:xfrm>
            <a:off x="8129384" y="3479570"/>
            <a:ext cx="166103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1800" dirty="0">
                <a:latin typeface="+mn-lt"/>
              </a:rPr>
              <a:t>2H</a:t>
            </a:r>
            <a:r>
              <a:rPr lang="en-US" altLang="en-US" sz="1800" baseline="30000" dirty="0">
                <a:latin typeface="+mn-lt"/>
              </a:rPr>
              <a:t>+</a:t>
            </a:r>
            <a:r>
              <a:rPr lang="en-US" altLang="en-US" sz="1800" dirty="0">
                <a:latin typeface="+mn-lt"/>
              </a:rPr>
              <a:t> + 2e</a:t>
            </a:r>
            <a:r>
              <a:rPr lang="en-US" altLang="en-US" sz="1800" baseline="30000" dirty="0">
                <a:latin typeface="+mn-lt"/>
              </a:rPr>
              <a:t>- </a:t>
            </a:r>
            <a:r>
              <a:rPr lang="en-US" altLang="en-US" sz="1800" dirty="0">
                <a:latin typeface="+mn-lt"/>
              </a:rPr>
              <a:t>---&gt; H</a:t>
            </a:r>
            <a:r>
              <a:rPr lang="en-US" altLang="en-US" sz="1800" baseline="-25000" dirty="0">
                <a:latin typeface="+mn-lt"/>
              </a:rPr>
              <a:t>2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5033000" y="1592264"/>
            <a:ext cx="4785482" cy="4579937"/>
            <a:chOff x="3798888" y="1846263"/>
            <a:chExt cx="4785482" cy="4579937"/>
          </a:xfrm>
        </p:grpSpPr>
        <p:sp>
          <p:nvSpPr>
            <p:cNvPr id="4" name="Cube 3"/>
            <p:cNvSpPr/>
            <p:nvPr/>
          </p:nvSpPr>
          <p:spPr>
            <a:xfrm>
              <a:off x="3968750" y="3641725"/>
              <a:ext cx="1230313" cy="2487613"/>
            </a:xfrm>
            <a:prstGeom prst="cube">
              <a:avLst>
                <a:gd name="adj" fmla="val 74180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5" name="Can 4"/>
            <p:cNvSpPr/>
            <p:nvPr/>
          </p:nvSpPr>
          <p:spPr>
            <a:xfrm>
              <a:off x="3798888" y="2498725"/>
              <a:ext cx="2984500" cy="3927475"/>
            </a:xfrm>
            <a:prstGeom prst="can">
              <a:avLst>
                <a:gd name="adj" fmla="val 14790"/>
              </a:avLst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cxnSp>
          <p:nvCxnSpPr>
            <p:cNvPr id="6" name="Straight Connector 5"/>
            <p:cNvCxnSpPr/>
            <p:nvPr/>
          </p:nvCxnSpPr>
          <p:spPr>
            <a:xfrm>
              <a:off x="4583113" y="2232025"/>
              <a:ext cx="0" cy="1825625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Cube 6"/>
            <p:cNvSpPr/>
            <p:nvPr/>
          </p:nvSpPr>
          <p:spPr>
            <a:xfrm>
              <a:off x="5443538" y="3641725"/>
              <a:ext cx="1179512" cy="2487613"/>
            </a:xfrm>
            <a:prstGeom prst="cube">
              <a:avLst>
                <a:gd name="adj" fmla="val 74180"/>
              </a:avLst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cxnSp>
          <p:nvCxnSpPr>
            <p:cNvPr id="8" name="Straight Connector 7"/>
            <p:cNvCxnSpPr/>
            <p:nvPr/>
          </p:nvCxnSpPr>
          <p:spPr>
            <a:xfrm>
              <a:off x="6072188" y="2222500"/>
              <a:ext cx="0" cy="183515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H="1">
              <a:off x="4594225" y="2222500"/>
              <a:ext cx="1477963" cy="9525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753" name="TextBox 9"/>
            <p:cNvSpPr txBox="1">
              <a:spLocks noChangeArrowheads="1"/>
            </p:cNvSpPr>
            <p:nvPr/>
          </p:nvSpPr>
          <p:spPr bwMode="auto">
            <a:xfrm rot="19211803">
              <a:off x="5715000" y="4772025"/>
              <a:ext cx="958850" cy="338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 dirty="0">
                  <a:solidFill>
                    <a:schemeClr val="bg1"/>
                  </a:solidFill>
                </a:rPr>
                <a:t>Cathode</a:t>
              </a:r>
            </a:p>
          </p:txBody>
        </p:sp>
        <p:sp>
          <p:nvSpPr>
            <p:cNvPr id="31754" name="TextBox 10"/>
            <p:cNvSpPr txBox="1">
              <a:spLocks noChangeArrowheads="1"/>
            </p:cNvSpPr>
            <p:nvPr/>
          </p:nvSpPr>
          <p:spPr bwMode="auto">
            <a:xfrm rot="19209261">
              <a:off x="4384675" y="4783138"/>
              <a:ext cx="776288" cy="339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 dirty="0">
                  <a:solidFill>
                    <a:schemeClr val="bg1"/>
                  </a:solidFill>
                </a:rPr>
                <a:t>Anode</a:t>
              </a:r>
            </a:p>
          </p:txBody>
        </p:sp>
        <p:sp>
          <p:nvSpPr>
            <p:cNvPr id="14" name="Rounded Rectangular Callout 13"/>
            <p:cNvSpPr/>
            <p:nvPr/>
          </p:nvSpPr>
          <p:spPr>
            <a:xfrm>
              <a:off x="6885745" y="3744666"/>
              <a:ext cx="1698625" cy="366712"/>
            </a:xfrm>
            <a:prstGeom prst="wedgeRoundRectCallout">
              <a:avLst>
                <a:gd name="adj1" fmla="val -73174"/>
                <a:gd name="adj2" fmla="val 71298"/>
                <a:gd name="adj3" fmla="val 16667"/>
              </a:avLst>
            </a:prstGeom>
            <a:noFill/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16" name="Can 15"/>
            <p:cNvSpPr/>
            <p:nvPr/>
          </p:nvSpPr>
          <p:spPr>
            <a:xfrm>
              <a:off x="3798888" y="4703763"/>
              <a:ext cx="2984500" cy="1711325"/>
            </a:xfrm>
            <a:prstGeom prst="can">
              <a:avLst>
                <a:gd name="adj" fmla="val 21472"/>
              </a:avLst>
            </a:prstGeom>
            <a:solidFill>
              <a:schemeClr val="accent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4881563" y="1873250"/>
              <a:ext cx="895350" cy="64135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600" dirty="0">
                  <a:solidFill>
                    <a:schemeClr val="tx1"/>
                  </a:solidFill>
                </a:rPr>
                <a:t>Power</a:t>
              </a:r>
            </a:p>
            <a:p>
              <a:pPr algn="ctr">
                <a:defRPr/>
              </a:pPr>
              <a:r>
                <a:rPr lang="en-US" sz="1600" dirty="0">
                  <a:solidFill>
                    <a:schemeClr val="tx1"/>
                  </a:solidFill>
                </a:rPr>
                <a:t>Supply</a:t>
              </a:r>
            </a:p>
          </p:txBody>
        </p:sp>
        <p:sp>
          <p:nvSpPr>
            <p:cNvPr id="31762" name="TextBox 18"/>
            <p:cNvSpPr txBox="1">
              <a:spLocks noChangeArrowheads="1"/>
            </p:cNvSpPr>
            <p:nvPr/>
          </p:nvSpPr>
          <p:spPr bwMode="auto">
            <a:xfrm>
              <a:off x="4213225" y="3070225"/>
              <a:ext cx="342900" cy="338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31763" name="TextBox 19"/>
            <p:cNvSpPr txBox="1">
              <a:spLocks noChangeArrowheads="1"/>
            </p:cNvSpPr>
            <p:nvPr/>
          </p:nvSpPr>
          <p:spPr bwMode="auto">
            <a:xfrm>
              <a:off x="4213225" y="2433638"/>
              <a:ext cx="342900" cy="339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31764" name="TextBox 20"/>
            <p:cNvSpPr txBox="1">
              <a:spLocks noChangeArrowheads="1"/>
            </p:cNvSpPr>
            <p:nvPr/>
          </p:nvSpPr>
          <p:spPr bwMode="auto">
            <a:xfrm>
              <a:off x="4371975" y="1852613"/>
              <a:ext cx="342900" cy="339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31765" name="TextBox 21"/>
            <p:cNvSpPr txBox="1">
              <a:spLocks noChangeArrowheads="1"/>
            </p:cNvSpPr>
            <p:nvPr/>
          </p:nvSpPr>
          <p:spPr bwMode="auto">
            <a:xfrm>
              <a:off x="5918200" y="1846263"/>
              <a:ext cx="342900" cy="338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31766" name="TextBox 22"/>
            <p:cNvSpPr txBox="1">
              <a:spLocks noChangeArrowheads="1"/>
            </p:cNvSpPr>
            <p:nvPr/>
          </p:nvSpPr>
          <p:spPr bwMode="auto">
            <a:xfrm>
              <a:off x="6089650" y="2270125"/>
              <a:ext cx="342900" cy="339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31767" name="TextBox 23"/>
            <p:cNvSpPr txBox="1">
              <a:spLocks noChangeArrowheads="1"/>
            </p:cNvSpPr>
            <p:nvPr/>
          </p:nvSpPr>
          <p:spPr bwMode="auto">
            <a:xfrm>
              <a:off x="6100763" y="2801938"/>
              <a:ext cx="342900" cy="338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31768" name="TextBox 24"/>
            <p:cNvSpPr txBox="1">
              <a:spLocks noChangeArrowheads="1"/>
            </p:cNvSpPr>
            <p:nvPr/>
          </p:nvSpPr>
          <p:spPr bwMode="auto">
            <a:xfrm>
              <a:off x="6100763" y="3333750"/>
              <a:ext cx="342900" cy="338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26" name="Right Arrow 25"/>
            <p:cNvSpPr/>
            <p:nvPr/>
          </p:nvSpPr>
          <p:spPr>
            <a:xfrm rot="16200000">
              <a:off x="3736182" y="3061493"/>
              <a:ext cx="723900" cy="366713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27" name="Right Arrow 26"/>
            <p:cNvSpPr/>
            <p:nvPr/>
          </p:nvSpPr>
          <p:spPr>
            <a:xfrm rot="5400000">
              <a:off x="6115050" y="2484438"/>
              <a:ext cx="723900" cy="368300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</p:grpSp>
      <p:sp>
        <p:nvSpPr>
          <p:cNvPr id="11" name="TextBox 10"/>
          <p:cNvSpPr txBox="1"/>
          <p:nvPr/>
        </p:nvSpPr>
        <p:spPr>
          <a:xfrm>
            <a:off x="8064815" y="3927136"/>
            <a:ext cx="254242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athode:</a:t>
            </a:r>
          </a:p>
          <a:p>
            <a:r>
              <a:rPr lang="en-US" dirty="0"/>
              <a:t>Any conductive materials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21771" y="4295761"/>
            <a:ext cx="47667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node: Expensive platinum group metals (PGMs)</a:t>
            </a:r>
          </a:p>
        </p:txBody>
      </p:sp>
      <p:sp>
        <p:nvSpPr>
          <p:cNvPr id="12" name="Down Arrow 11"/>
          <p:cNvSpPr/>
          <p:nvPr/>
        </p:nvSpPr>
        <p:spPr>
          <a:xfrm>
            <a:off x="2183692" y="4687095"/>
            <a:ext cx="381000" cy="55494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TextBox 35"/>
          <p:cNvSpPr txBox="1"/>
          <p:nvPr/>
        </p:nvSpPr>
        <p:spPr>
          <a:xfrm>
            <a:off x="141898" y="5320673"/>
            <a:ext cx="48215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catalyst cobalt 1,2‐bis(diphenylphosphino)ethane  (Co-DPPE)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41898" y="6273225"/>
            <a:ext cx="1174530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Bloomfield </a:t>
            </a:r>
            <a:r>
              <a:rPr lang="en-US" sz="1600" i="1" dirty="0">
                <a:latin typeface="Arial" panose="020B0604020202020204" pitchFamily="34" charset="0"/>
                <a:cs typeface="Arial" panose="020B0604020202020204" pitchFamily="34" charset="0"/>
              </a:rPr>
              <a:t>et al.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“A heterogeneous water oxidation catalyst from dicobalt octacarbonyl and 1,2-bis(diphenylphosphino)ethane”. </a:t>
            </a:r>
            <a:r>
              <a:rPr lang="en-US" sz="1600" i="1" dirty="0">
                <a:latin typeface="Arial" panose="020B0604020202020204" pitchFamily="34" charset="0"/>
                <a:cs typeface="Arial" panose="020B0604020202020204" pitchFamily="34" charset="0"/>
              </a:rPr>
              <a:t>New J. Chem.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2014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i="1" dirty="0">
                <a:latin typeface="Arial" panose="020B0604020202020204" pitchFamily="34" charset="0"/>
                <a:cs typeface="Arial" panose="020B0604020202020204" pitchFamily="34" charset="0"/>
              </a:rPr>
              <a:t>38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, 1540-1545.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DB1D86B6-2905-4FA3-A7FE-4EC6F1754F06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11">
            <a:extLst>
              <a:ext uri="{FF2B5EF4-FFF2-40B4-BE49-F238E27FC236}">
                <a16:creationId xmlns:a16="http://schemas.microsoft.com/office/drawing/2014/main" id="{CB8D4BE6-C856-4957-BD29-47610C1D1A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90444" y="2836981"/>
            <a:ext cx="240001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1800" dirty="0">
                <a:latin typeface="+mn-lt"/>
              </a:rPr>
              <a:t>2H</a:t>
            </a:r>
            <a:r>
              <a:rPr lang="en-US" altLang="en-US" sz="1800" baseline="-25000" dirty="0">
                <a:latin typeface="+mn-lt"/>
              </a:rPr>
              <a:t>2</a:t>
            </a:r>
            <a:r>
              <a:rPr lang="en-US" altLang="en-US" sz="1800" dirty="0">
                <a:latin typeface="+mn-lt"/>
              </a:rPr>
              <a:t>O ---&gt; O</a:t>
            </a:r>
            <a:r>
              <a:rPr lang="en-US" altLang="en-US" sz="1800" baseline="-25000" dirty="0">
                <a:latin typeface="+mn-lt"/>
              </a:rPr>
              <a:t>2</a:t>
            </a:r>
            <a:r>
              <a:rPr lang="en-US" altLang="en-US" sz="1800" dirty="0">
                <a:latin typeface="+mn-lt"/>
              </a:rPr>
              <a:t> + 4H</a:t>
            </a:r>
            <a:r>
              <a:rPr lang="en-US" altLang="en-US" sz="1800" baseline="30000" dirty="0">
                <a:latin typeface="+mn-lt"/>
              </a:rPr>
              <a:t>+</a:t>
            </a:r>
            <a:r>
              <a:rPr lang="en-US" altLang="en-US" sz="1800" dirty="0">
                <a:latin typeface="+mn-lt"/>
              </a:rPr>
              <a:t> + 4e</a:t>
            </a:r>
            <a:r>
              <a:rPr lang="en-US" altLang="en-US" sz="1800" baseline="30000" dirty="0">
                <a:latin typeface="+mn-lt"/>
              </a:rPr>
              <a:t>-</a:t>
            </a:r>
          </a:p>
        </p:txBody>
      </p:sp>
      <p:graphicFrame>
        <p:nvGraphicFramePr>
          <p:cNvPr id="35" name="Object 12">
            <a:extLst>
              <a:ext uri="{FF2B5EF4-FFF2-40B4-BE49-F238E27FC236}">
                <a16:creationId xmlns:a16="http://schemas.microsoft.com/office/drawing/2014/main" id="{CC3C1951-D0C4-4623-95D5-FB2983C4164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07348950"/>
              </p:ext>
            </p:extLst>
          </p:nvPr>
        </p:nvGraphicFramePr>
        <p:xfrm>
          <a:off x="1394829" y="3269208"/>
          <a:ext cx="3189287" cy="773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4" name="CS ChemDraw Drawing" r:id="rId4" imgW="3188579" imgH="772904" progId="ChemDraw.Document.6.0">
                  <p:embed/>
                </p:oleObj>
              </mc:Choice>
              <mc:Fallback>
                <p:oleObj name="CS ChemDraw Drawing" r:id="rId4" imgW="3188579" imgH="772904" progId="ChemDraw.Document.6.0">
                  <p:embed/>
                  <p:pic>
                    <p:nvPicPr>
                      <p:cNvPr id="31756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4829" y="3269208"/>
                        <a:ext cx="3189287" cy="7731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ounded Rectangular Callout 16">
            <a:extLst>
              <a:ext uri="{FF2B5EF4-FFF2-40B4-BE49-F238E27FC236}">
                <a16:creationId xmlns:a16="http://schemas.microsoft.com/office/drawing/2014/main" id="{F0290A0E-D32D-43B5-908C-B06195BD2340}"/>
              </a:ext>
            </a:extLst>
          </p:cNvPr>
          <p:cNvSpPr/>
          <p:nvPr/>
        </p:nvSpPr>
        <p:spPr>
          <a:xfrm>
            <a:off x="1292851" y="2724894"/>
            <a:ext cx="3240087" cy="1311275"/>
          </a:xfrm>
          <a:prstGeom prst="wedgeRoundRectCallout">
            <a:avLst>
              <a:gd name="adj1" fmla="val 74656"/>
              <a:gd name="adj2" fmla="val 34582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DEF8297F-6B30-4A7E-B2A3-5FCC2065037F}"/>
              </a:ext>
            </a:extLst>
          </p:cNvPr>
          <p:cNvSpPr txBox="1"/>
          <p:nvPr/>
        </p:nvSpPr>
        <p:spPr>
          <a:xfrm>
            <a:off x="261480" y="1186718"/>
            <a:ext cx="3332503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dirty="0"/>
              <a:t>Water-compatible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dirty="0"/>
              <a:t>Atmospheric pressure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dirty="0"/>
              <a:t>Room temperature or above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dirty="0"/>
              <a:t>Low current / voltage</a:t>
            </a:r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F4904DBF-8DE7-4BD4-B57E-8979CA7C862F}"/>
              </a:ext>
            </a:extLst>
          </p:cNvPr>
          <p:cNvSpPr txBox="1">
            <a:spLocks/>
          </p:cNvSpPr>
          <p:nvPr/>
        </p:nvSpPr>
        <p:spPr>
          <a:xfrm>
            <a:off x="1994950" y="229131"/>
            <a:ext cx="8202100" cy="646331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altLang="en-US" sz="4000" b="1">
                <a:latin typeface="+mn-lt"/>
              </a:rPr>
              <a:t>Electrocatalytic Oxidation of Glycerol</a:t>
            </a:r>
            <a:endParaRPr lang="en-US" altLang="en-US" sz="4000" b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20976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/>
      <p:bldP spid="12" grpId="0" animBg="1"/>
      <p:bldP spid="36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4100" y="1351795"/>
            <a:ext cx="7296884" cy="1082348"/>
          </a:xfrm>
        </p:spPr>
        <p:txBody>
          <a:bodyPr wrap="square">
            <a:sp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en-US" b="1" dirty="0">
                <a:latin typeface="+mn-lt"/>
              </a:rPr>
              <a:t>The Bayer Process (Karl Bayer, 1887)</a:t>
            </a:r>
          </a:p>
          <a:p>
            <a:pPr marL="0" indent="0">
              <a:lnSpc>
                <a:spcPct val="100000"/>
              </a:lnSpc>
              <a:buNone/>
            </a:pPr>
            <a:endParaRPr lang="en-US" b="1" dirty="0">
              <a:latin typeface="+mn-lt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80" r="11134"/>
          <a:stretch/>
        </p:blipFill>
        <p:spPr>
          <a:xfrm>
            <a:off x="885811" y="3455361"/>
            <a:ext cx="1132217" cy="1045953"/>
          </a:xfrm>
          <a:prstGeom prst="rect">
            <a:avLst/>
          </a:prstGeom>
        </p:spPr>
      </p:pic>
      <p:sp>
        <p:nvSpPr>
          <p:cNvPr id="6" name="Right Arrow 5"/>
          <p:cNvSpPr/>
          <p:nvPr/>
        </p:nvSpPr>
        <p:spPr>
          <a:xfrm>
            <a:off x="2110098" y="3832276"/>
            <a:ext cx="1717822" cy="317021"/>
          </a:xfrm>
          <a:prstGeom prst="rightArrow">
            <a:avLst/>
          </a:prstGeom>
          <a:solidFill>
            <a:schemeClr val="accent1">
              <a:lumMod val="75000"/>
              <a:alpha val="50000"/>
            </a:schemeClr>
          </a:solidFill>
          <a:ln>
            <a:solidFill>
              <a:schemeClr val="accent1">
                <a:shade val="50000"/>
                <a:alpha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8989" y="5696981"/>
            <a:ext cx="808517" cy="808517"/>
          </a:xfrm>
          <a:prstGeom prst="rect">
            <a:avLst/>
          </a:prstGeom>
        </p:spPr>
      </p:pic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5207633"/>
              </p:ext>
            </p:extLst>
          </p:nvPr>
        </p:nvGraphicFramePr>
        <p:xfrm>
          <a:off x="6080230" y="4264770"/>
          <a:ext cx="1649408" cy="2057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47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247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42900"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Element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Composition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Fe</a:t>
                      </a:r>
                      <a:r>
                        <a:rPr lang="en-US" sz="900" baseline="-25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en-US" sz="9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O</a:t>
                      </a:r>
                      <a:r>
                        <a:rPr lang="en-US" sz="900" baseline="-25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en-US" sz="9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-60wt%</a:t>
                      </a:r>
                    </a:p>
                  </a:txBody>
                  <a:tcPr marL="40005" marR="40005" marT="22860" marB="2286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Al</a:t>
                      </a:r>
                      <a:r>
                        <a:rPr lang="en-US" sz="900" baseline="-25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en-US" sz="9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O</a:t>
                      </a:r>
                      <a:r>
                        <a:rPr lang="en-US" sz="900" baseline="-25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en-US" sz="9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-20wt%</a:t>
                      </a:r>
                    </a:p>
                  </a:txBody>
                  <a:tcPr marL="40005" marR="40005" marT="22860" marB="2286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iO</a:t>
                      </a:r>
                      <a:r>
                        <a:rPr lang="en-US" sz="900" baseline="-25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en-US" sz="9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-50wt%</a:t>
                      </a:r>
                    </a:p>
                  </a:txBody>
                  <a:tcPr marL="40005" marR="40005" marT="22860" marB="2286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a</a:t>
                      </a:r>
                      <a:r>
                        <a:rPr lang="en-US" sz="900" baseline="-25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en-US" sz="9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O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-10wt%</a:t>
                      </a:r>
                    </a:p>
                  </a:txBody>
                  <a:tcPr marL="40005" marR="40005" marT="22860" marB="2286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err="1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O</a:t>
                      </a:r>
                      <a:endParaRPr lang="en-US" sz="9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-8wt%</a:t>
                      </a:r>
                    </a:p>
                  </a:txBody>
                  <a:tcPr marL="40005" marR="40005" marT="22860" marB="2286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iO</a:t>
                      </a:r>
                      <a:r>
                        <a:rPr lang="en-US" sz="900" baseline="-25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en-US" sz="9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race-25wt%</a:t>
                      </a:r>
                    </a:p>
                  </a:txBody>
                  <a:tcPr marL="40005" marR="40005" marT="22860" marB="2286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8006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900" b="0" i="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K, Cr, V, Ni, Ba, Cu, Mn, Pb, Zn</a:t>
                      </a:r>
                      <a:r>
                        <a:rPr lang="en-US" sz="900" b="0" i="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sz="900" b="0" i="0" kern="1200" dirty="0" err="1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Sc</a:t>
                      </a:r>
                      <a:endParaRPr lang="en-US" sz="9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races</a:t>
                      </a:r>
                    </a:p>
                  </a:txBody>
                  <a:tcPr marL="40005" marR="40005" marT="22860" marB="2286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2213483" y="3455361"/>
            <a:ext cx="14189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NaOH, 170 – 180 °C</a:t>
            </a:r>
          </a:p>
          <a:p>
            <a:pPr algn="ctr"/>
            <a:r>
              <a:rPr lang="en-US" sz="1200" dirty="0"/>
              <a:t>1 – 6 atm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2691" y="4674637"/>
            <a:ext cx="811706" cy="544402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4089729" y="3754970"/>
            <a:ext cx="1509916" cy="461665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Sodium aluminate</a:t>
            </a:r>
          </a:p>
          <a:p>
            <a:pPr algn="ctr"/>
            <a:r>
              <a:rPr lang="en-US" sz="1200" dirty="0"/>
              <a:t>Na</a:t>
            </a:r>
            <a:r>
              <a:rPr lang="en-US" sz="1200" baseline="30000" dirty="0"/>
              <a:t>+ </a:t>
            </a:r>
            <a:r>
              <a:rPr lang="en-US" sz="1200" dirty="0"/>
              <a:t>Al(OH)</a:t>
            </a:r>
            <a:r>
              <a:rPr lang="en-US" sz="1200" baseline="-25000" dirty="0"/>
              <a:t>4</a:t>
            </a:r>
            <a:r>
              <a:rPr lang="en-US" sz="1200" baseline="30000" dirty="0"/>
              <a:t>-</a:t>
            </a:r>
            <a:endParaRPr lang="en-US" sz="1200" dirty="0"/>
          </a:p>
        </p:txBody>
      </p:sp>
      <p:sp>
        <p:nvSpPr>
          <p:cNvPr id="14" name="Right Arrow 13"/>
          <p:cNvSpPr/>
          <p:nvPr/>
        </p:nvSpPr>
        <p:spPr>
          <a:xfrm rot="5400000">
            <a:off x="4842655" y="4310312"/>
            <a:ext cx="325650" cy="317021"/>
          </a:xfrm>
          <a:prstGeom prst="rightArrow">
            <a:avLst/>
          </a:prstGeom>
          <a:solidFill>
            <a:schemeClr val="accent1">
              <a:lumMod val="75000"/>
              <a:alpha val="50000"/>
            </a:schemeClr>
          </a:solidFill>
          <a:ln>
            <a:solidFill>
              <a:schemeClr val="accent1">
                <a:shade val="50000"/>
                <a:alpha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5" name="Right Arrow 14"/>
          <p:cNvSpPr/>
          <p:nvPr/>
        </p:nvSpPr>
        <p:spPr>
          <a:xfrm rot="5400000">
            <a:off x="4851166" y="5299501"/>
            <a:ext cx="325650" cy="317021"/>
          </a:xfrm>
          <a:prstGeom prst="rightArrow">
            <a:avLst/>
          </a:prstGeom>
          <a:solidFill>
            <a:schemeClr val="accent1">
              <a:lumMod val="75000"/>
              <a:alpha val="50000"/>
            </a:schemeClr>
          </a:solidFill>
          <a:ln>
            <a:solidFill>
              <a:schemeClr val="accent1">
                <a:shade val="50000"/>
                <a:alpha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6" name="TextBox 15"/>
          <p:cNvSpPr txBox="1"/>
          <p:nvPr/>
        </p:nvSpPr>
        <p:spPr>
          <a:xfrm>
            <a:off x="4059706" y="4277787"/>
            <a:ext cx="7328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b="1" dirty="0"/>
              <a:t>Precipitation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554855" y="5281657"/>
            <a:ext cx="111280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b="1" dirty="0"/>
              <a:t>Electrolytic Reduction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478047" y="3880293"/>
            <a:ext cx="749436" cy="276999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none" rtlCol="0">
            <a:spAutoFit/>
          </a:bodyPr>
          <a:lstStyle/>
          <a:p>
            <a:r>
              <a:rPr lang="en-US" sz="1200" dirty="0"/>
              <a:t>Red Mud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3695305" y="4602688"/>
            <a:ext cx="837216" cy="646331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lumina </a:t>
            </a:r>
          </a:p>
          <a:p>
            <a:pPr algn="ctr"/>
            <a:r>
              <a:rPr lang="en-US" sz="1200" dirty="0"/>
              <a:t>Al</a:t>
            </a:r>
            <a:r>
              <a:rPr lang="en-US" sz="1200" baseline="-25000" dirty="0"/>
              <a:t>2</a:t>
            </a:r>
            <a:r>
              <a:rPr lang="en-US" sz="1200" dirty="0"/>
              <a:t>O</a:t>
            </a:r>
            <a:r>
              <a:rPr lang="en-US" sz="1200" baseline="-25000" dirty="0"/>
              <a:t>3</a:t>
            </a:r>
          </a:p>
          <a:p>
            <a:pPr algn="ctr"/>
            <a:r>
              <a:rPr lang="en-US" sz="1200" dirty="0"/>
              <a:t>(~2 tonne)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707730" y="5818001"/>
            <a:ext cx="837216" cy="461665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luminum</a:t>
            </a:r>
          </a:p>
          <a:p>
            <a:pPr algn="ctr"/>
            <a:r>
              <a:rPr lang="en-US" sz="1200" dirty="0"/>
              <a:t>(~1 tonne)</a:t>
            </a:r>
            <a:endParaRPr lang="en-US" sz="1200" baseline="-25000" dirty="0"/>
          </a:p>
        </p:txBody>
      </p:sp>
      <p:sp>
        <p:nvSpPr>
          <p:cNvPr id="22" name="TextBox 21"/>
          <p:cNvSpPr txBox="1"/>
          <p:nvPr/>
        </p:nvSpPr>
        <p:spPr>
          <a:xfrm>
            <a:off x="958769" y="4515335"/>
            <a:ext cx="986296" cy="461665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Bauxites</a:t>
            </a:r>
          </a:p>
          <a:p>
            <a:pPr algn="ctr"/>
            <a:r>
              <a:rPr lang="en-US" sz="1200" dirty="0"/>
              <a:t>(4 – 5 tonne)</a:t>
            </a:r>
            <a:endParaRPr lang="en-US" sz="1200" baseline="-25000" dirty="0"/>
          </a:p>
        </p:txBody>
      </p:sp>
      <p:sp>
        <p:nvSpPr>
          <p:cNvPr id="24" name="Rectangle 23"/>
          <p:cNvSpPr/>
          <p:nvPr/>
        </p:nvSpPr>
        <p:spPr>
          <a:xfrm>
            <a:off x="634100" y="6493980"/>
            <a:ext cx="505837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Source: http://www.aluminiumleader.com/production/aluminum_production</a:t>
            </a:r>
          </a:p>
        </p:txBody>
      </p:sp>
      <p:sp>
        <p:nvSpPr>
          <p:cNvPr id="26" name="Plus 25"/>
          <p:cNvSpPr/>
          <p:nvPr/>
        </p:nvSpPr>
        <p:spPr>
          <a:xfrm>
            <a:off x="5821310" y="3804641"/>
            <a:ext cx="435077" cy="435077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8" name="TextBox 7"/>
          <p:cNvSpPr txBox="1"/>
          <p:nvPr/>
        </p:nvSpPr>
        <p:spPr>
          <a:xfrm>
            <a:off x="7737580" y="1170572"/>
            <a:ext cx="437601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Red mud </a:t>
            </a:r>
          </a:p>
          <a:p>
            <a:pPr marL="285750" indent="-285750">
              <a:buFontTx/>
              <a:buChar char="-"/>
            </a:pPr>
            <a:r>
              <a:rPr lang="en-US" dirty="0"/>
              <a:t>highly basic </a:t>
            </a:r>
            <a:r>
              <a:rPr lang="en-US" b="1" dirty="0"/>
              <a:t>pH=14</a:t>
            </a:r>
            <a:endParaRPr lang="en-US" dirty="0"/>
          </a:p>
          <a:p>
            <a:pPr marL="285750" indent="-285750">
              <a:buFontTx/>
              <a:buChar char="-"/>
            </a:pPr>
            <a:r>
              <a:rPr lang="en-US" dirty="0"/>
              <a:t>byproduct of Bayer process</a:t>
            </a:r>
          </a:p>
          <a:p>
            <a:pPr marL="285750" indent="-285750">
              <a:buFontTx/>
              <a:buChar char="-"/>
            </a:pPr>
            <a:r>
              <a:rPr lang="en-US" dirty="0"/>
              <a:t>1 ton of Al</a:t>
            </a:r>
            <a:r>
              <a:rPr lang="en-US" baseline="-25000" dirty="0"/>
              <a:t>2</a:t>
            </a:r>
            <a:r>
              <a:rPr lang="en-US" dirty="0"/>
              <a:t>O</a:t>
            </a:r>
            <a:r>
              <a:rPr lang="en-US" baseline="-25000" dirty="0"/>
              <a:t>3</a:t>
            </a:r>
            <a:r>
              <a:rPr lang="en-US" dirty="0"/>
              <a:t> =&gt; up to 2 tons of red mud.</a:t>
            </a:r>
          </a:p>
          <a:p>
            <a:pPr marL="285750" indent="-285750">
              <a:buFontTx/>
              <a:buChar char="-"/>
            </a:pPr>
            <a:endParaRPr lang="en-US" dirty="0"/>
          </a:p>
          <a:p>
            <a:pPr marL="285750" indent="-285750">
              <a:buFontTx/>
              <a:buChar char="-"/>
            </a:pPr>
            <a:endParaRPr lang="en-US" dirty="0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E773710-567B-48EA-8A1B-E8C069DE471D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3" descr="bayer_process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266410" y="1906914"/>
            <a:ext cx="4211637" cy="1565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3"/>
          <p:cNvSpPr/>
          <p:nvPr/>
        </p:nvSpPr>
        <p:spPr>
          <a:xfrm>
            <a:off x="74336" y="5356336"/>
            <a:ext cx="348052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Bayer Process: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industrial process that refines bauxite, raw aluminum ore, into aluminum oxide (alumina).</a:t>
            </a:r>
          </a:p>
        </p:txBody>
      </p:sp>
      <p:sp>
        <p:nvSpPr>
          <p:cNvPr id="29" name="Title 1"/>
          <p:cNvSpPr>
            <a:spLocks noGrp="1"/>
          </p:cNvSpPr>
          <p:nvPr>
            <p:ph type="title"/>
          </p:nvPr>
        </p:nvSpPr>
        <p:spPr>
          <a:xfrm>
            <a:off x="1739118" y="357980"/>
            <a:ext cx="8713763" cy="550856"/>
          </a:xfrm>
        </p:spPr>
        <p:txBody>
          <a:bodyPr>
            <a:spAutoFit/>
          </a:bodyPr>
          <a:lstStyle/>
          <a:p>
            <a:pPr algn="ctr">
              <a:lnSpc>
                <a:spcPts val="3500"/>
              </a:lnSpc>
            </a:pPr>
            <a:r>
              <a:rPr lang="en-US" sz="3600" b="1" dirty="0">
                <a:latin typeface="+mn-lt"/>
              </a:rPr>
              <a:t>Bayer Process (again!)</a:t>
            </a:r>
          </a:p>
        </p:txBody>
      </p:sp>
      <p:pic>
        <p:nvPicPr>
          <p:cNvPr id="30" name="Picture 2" descr="https://upload.wikimedia.org/wikipedia/commons/c/c2/Luftaufnahmen_Nordseekueste_2012-05-by-RaBoe-478.jpg">
            <a:extLst>
              <a:ext uri="{FF2B5EF4-FFF2-40B4-BE49-F238E27FC236}">
                <a16:creationId xmlns:a16="http://schemas.microsoft.com/office/drawing/2014/main" id="{6E36C23A-84F5-450F-B43F-4AFBD3FBA35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24" t="32177" b="11290"/>
          <a:stretch/>
        </p:blipFill>
        <p:spPr bwMode="auto">
          <a:xfrm>
            <a:off x="7855021" y="2461187"/>
            <a:ext cx="4041058" cy="18832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8" descr="http://cdn.theatlantic.com/static/infocus/sludge092811/s_s03_08011278.jpg">
            <a:extLst>
              <a:ext uri="{FF2B5EF4-FFF2-40B4-BE49-F238E27FC236}">
                <a16:creationId xmlns:a16="http://schemas.microsoft.com/office/drawing/2014/main" id="{28DC4989-F395-4F67-9279-F469C0A65B9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6776" r="6194" b="19425"/>
          <a:stretch/>
        </p:blipFill>
        <p:spPr bwMode="auto">
          <a:xfrm>
            <a:off x="7855021" y="4422393"/>
            <a:ext cx="4041058" cy="21494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863160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48A95427-3833-4554-9530-FFA11871C6B5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EB4221CC-BEBC-4283-B0AD-C9ED7755C0E8}"/>
              </a:ext>
            </a:extLst>
          </p:cNvPr>
          <p:cNvSpPr txBox="1"/>
          <p:nvPr/>
        </p:nvSpPr>
        <p:spPr>
          <a:xfrm>
            <a:off x="1032923" y="1485522"/>
            <a:ext cx="5994419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The Waste Treatment Pyramid</a:t>
            </a: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Reduced Solvent Use</a:t>
            </a: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2800" dirty="0">
                <a:solidFill>
                  <a:prstClr val="black"/>
                </a:solidFill>
              </a:rPr>
              <a:t>Waste as a Feedstock</a:t>
            </a: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2800" dirty="0">
                <a:solidFill>
                  <a:prstClr val="black"/>
                </a:solidFill>
              </a:rPr>
              <a:t>Biodegradation of Waste</a:t>
            </a: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esigning</a:t>
            </a:r>
            <a:r>
              <a:rPr lang="en-US" sz="2800" dirty="0">
                <a:solidFill>
                  <a:prstClr val="black"/>
                </a:solidFill>
              </a:rPr>
              <a:t> Processes to Include Biodegradation of Waste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3785992" y="156411"/>
            <a:ext cx="462004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/>
              <a:t>Topics To Be Covered</a:t>
            </a:r>
            <a:endParaRPr lang="en-US" sz="4000" b="1" dirty="0"/>
          </a:p>
        </p:txBody>
      </p:sp>
    </p:spTree>
    <p:extLst>
      <p:ext uri="{BB962C8B-B14F-4D97-AF65-F5344CB8AC3E}">
        <p14:creationId xmlns:p14="http://schemas.microsoft.com/office/powerpoint/2010/main" val="137077832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9118" y="357980"/>
            <a:ext cx="8713763" cy="550856"/>
          </a:xfrm>
        </p:spPr>
        <p:txBody>
          <a:bodyPr>
            <a:spAutoFit/>
          </a:bodyPr>
          <a:lstStyle/>
          <a:p>
            <a:pPr algn="ctr">
              <a:lnSpc>
                <a:spcPts val="3500"/>
              </a:lnSpc>
            </a:pPr>
            <a:r>
              <a:rPr lang="en-US" sz="3600" b="1" dirty="0">
                <a:latin typeface="+mn-lt"/>
              </a:rPr>
              <a:t>Generation of Biofuels (again!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4099" y="1351795"/>
            <a:ext cx="9818782" cy="928459"/>
          </a:xfrm>
        </p:spPr>
        <p:txBody>
          <a:bodyPr wrap="square">
            <a:sp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en-US" b="1" dirty="0">
                <a:latin typeface="+mn-lt"/>
              </a:rPr>
              <a:t>Pyrolysis of biomass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1800" dirty="0"/>
              <a:t>Pyrolysis of biomass (500°C) affords a mixture of solid, liquid and gaseous carbonaceous materials</a:t>
            </a:r>
            <a:r>
              <a:rPr lang="en-US" sz="1800" b="1" dirty="0"/>
              <a:t>:</a:t>
            </a:r>
            <a:endParaRPr lang="en-US" sz="1800" dirty="0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E773710-567B-48EA-8A1B-E8C069DE471D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1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26077" y="5570206"/>
            <a:ext cx="1719263" cy="1131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" name="Picture 13" descr="biopact_bio-oil_sample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854677" y="3439910"/>
            <a:ext cx="1189038" cy="2033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Text Box 14"/>
          <p:cNvSpPr txBox="1">
            <a:spLocks noChangeArrowheads="1"/>
          </p:cNvSpPr>
          <p:nvPr/>
        </p:nvSpPr>
        <p:spPr bwMode="auto">
          <a:xfrm>
            <a:off x="6378677" y="2825547"/>
            <a:ext cx="2133600" cy="1192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s (10-20 %)</a:t>
            </a:r>
          </a:p>
          <a:p>
            <a:pPr>
              <a:spcBef>
                <a:spcPct val="50000"/>
              </a:spcBef>
            </a:pPr>
            <a:r>
              <a:rPr lang="en-US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→ Energy</a:t>
            </a:r>
          </a:p>
          <a:p>
            <a:pPr>
              <a:spcBef>
                <a:spcPct val="50000"/>
              </a:spcBef>
            </a:pPr>
            <a:endParaRPr lang="en-US" b="1" dirty="0">
              <a:solidFill>
                <a:schemeClr val="hlin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Text Box 15"/>
          <p:cNvSpPr txBox="1">
            <a:spLocks noChangeArrowheads="1"/>
          </p:cNvSpPr>
          <p:nvPr/>
        </p:nvSpPr>
        <p:spPr bwMode="auto">
          <a:xfrm>
            <a:off x="4729264" y="2835331"/>
            <a:ext cx="1439863" cy="366712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dirty="0"/>
              <a:t>CO/H</a:t>
            </a:r>
            <a:r>
              <a:rPr lang="en-US" baseline="-25000" dirty="0"/>
              <a:t>2</a:t>
            </a:r>
            <a:r>
              <a:rPr lang="en-US" dirty="0"/>
              <a:t>/CO</a:t>
            </a:r>
            <a:r>
              <a:rPr lang="en-US" baseline="-25000" dirty="0"/>
              <a:t>2</a:t>
            </a:r>
            <a:endParaRPr lang="en-US" dirty="0"/>
          </a:p>
        </p:txBody>
      </p:sp>
      <p:pic>
        <p:nvPicPr>
          <p:cNvPr id="33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120877" y="3187496"/>
            <a:ext cx="2286000" cy="228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" name="Right Arrow 33"/>
          <p:cNvSpPr/>
          <p:nvPr/>
        </p:nvSpPr>
        <p:spPr>
          <a:xfrm>
            <a:off x="3711677" y="4101896"/>
            <a:ext cx="914400" cy="6858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5" name="Rectangle 34"/>
          <p:cNvSpPr/>
          <p:nvPr/>
        </p:nvSpPr>
        <p:spPr>
          <a:xfrm>
            <a:off x="6378677" y="5797347"/>
            <a:ext cx="2895600" cy="779463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bio-coal (15-20 %)</a:t>
            </a:r>
          </a:p>
          <a:p>
            <a:pPr>
              <a:spcBef>
                <a:spcPct val="50000"/>
              </a:spcBef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→ Soil improvement</a:t>
            </a:r>
          </a:p>
        </p:txBody>
      </p:sp>
      <p:sp>
        <p:nvSpPr>
          <p:cNvPr id="36" name="Rectangle 35"/>
          <p:cNvSpPr/>
          <p:nvPr/>
        </p:nvSpPr>
        <p:spPr>
          <a:xfrm>
            <a:off x="6378677" y="4017760"/>
            <a:ext cx="2895600" cy="779463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b="1" dirty="0">
                <a:solidFill>
                  <a:schemeClr val="hlin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o-crude (60-75%)</a:t>
            </a:r>
          </a:p>
          <a:p>
            <a:pPr>
              <a:spcBef>
                <a:spcPct val="50000"/>
              </a:spcBef>
            </a:pPr>
            <a:r>
              <a:rPr lang="en-US" b="1" dirty="0">
                <a:solidFill>
                  <a:schemeClr val="hlin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→ Fuel</a:t>
            </a:r>
          </a:p>
        </p:txBody>
      </p:sp>
      <p:sp>
        <p:nvSpPr>
          <p:cNvPr id="37" name="Rectangle 36"/>
          <p:cNvSpPr/>
          <p:nvPr/>
        </p:nvSpPr>
        <p:spPr>
          <a:xfrm>
            <a:off x="3711677" y="3672542"/>
            <a:ext cx="914400" cy="38100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b="1" dirty="0"/>
              <a:t>500°C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8633331" y="3672542"/>
            <a:ext cx="2654710" cy="1391496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urther treatments are needed for fuel production =&gt; highly acidic (</a:t>
            </a:r>
            <a:r>
              <a:rPr lang="en-US" b="1" dirty="0"/>
              <a:t>pH 2</a:t>
            </a:r>
            <a:r>
              <a:rPr lang="en-US" dirty="0"/>
              <a:t>)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AC8B1194-AE39-4797-8CFD-9E558D3BB259}"/>
              </a:ext>
            </a:extLst>
          </p:cNvPr>
          <p:cNvSpPr txBox="1">
            <a:spLocks/>
          </p:cNvSpPr>
          <p:nvPr/>
        </p:nvSpPr>
        <p:spPr>
          <a:xfrm>
            <a:off x="725225" y="5181022"/>
            <a:ext cx="2941802" cy="52322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Font typeface="Arial"/>
              <a:buNone/>
            </a:pPr>
            <a:r>
              <a:rPr lang="en-US" b="1" dirty="0"/>
              <a:t>biomass</a:t>
            </a:r>
          </a:p>
        </p:txBody>
      </p:sp>
    </p:spTree>
    <p:extLst>
      <p:ext uri="{BB962C8B-B14F-4D97-AF65-F5344CB8AC3E}">
        <p14:creationId xmlns:p14="http://schemas.microsoft.com/office/powerpoint/2010/main" val="280213326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35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830295" y="1602680"/>
            <a:ext cx="10746653" cy="743248"/>
          </a:xfrm>
        </p:spPr>
        <p:txBody>
          <a:bodyPr>
            <a:normAutofit/>
          </a:bodyPr>
          <a:lstStyle/>
          <a:p>
            <a:r>
              <a:rPr lang="fr-CA" sz="1800" dirty="0" err="1">
                <a:latin typeface="Arial" panose="020B0604020202020204" pitchFamily="34" charset="0"/>
                <a:cs typeface="Arial" panose="020B0604020202020204" pitchFamily="34" charset="0"/>
              </a:rPr>
              <a:t>Neutralization</a:t>
            </a:r>
            <a:r>
              <a:rPr lang="fr-CA" sz="1800" dirty="0">
                <a:latin typeface="Arial" panose="020B0604020202020204" pitchFamily="34" charset="0"/>
                <a:cs typeface="Arial" panose="020B0604020202020204" pitchFamily="34" charset="0"/>
              </a:rPr>
              <a:t> by </a:t>
            </a:r>
            <a:r>
              <a:rPr lang="fr-CA" sz="1800" b="1" dirty="0" err="1">
                <a:latin typeface="Arial" panose="020B0604020202020204" pitchFamily="34" charset="0"/>
                <a:cs typeface="Arial" panose="020B0604020202020204" pitchFamily="34" charset="0"/>
              </a:rPr>
              <a:t>mixing</a:t>
            </a:r>
            <a:r>
              <a:rPr lang="fr-CA" sz="1800" b="1" dirty="0">
                <a:latin typeface="Arial" panose="020B0604020202020204" pitchFamily="34" charset="0"/>
                <a:cs typeface="Arial" panose="020B0604020202020204" pitchFamily="34" charset="0"/>
              </a:rPr>
              <a:t> the </a:t>
            </a:r>
            <a:r>
              <a:rPr lang="fr-CA" sz="1800" b="1" dirty="0" err="1">
                <a:latin typeface="Arial" panose="020B0604020202020204" pitchFamily="34" charset="0"/>
                <a:cs typeface="Arial" panose="020B0604020202020204" pitchFamily="34" charset="0"/>
              </a:rPr>
              <a:t>waste</a:t>
            </a:r>
            <a:r>
              <a:rPr lang="fr-CA" sz="1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CA" sz="1800" b="1" dirty="0" err="1">
                <a:latin typeface="Arial" panose="020B0604020202020204" pitchFamily="34" charset="0"/>
                <a:cs typeface="Arial" panose="020B0604020202020204" pitchFamily="34" charset="0"/>
              </a:rPr>
              <a:t>streams</a:t>
            </a:r>
            <a:endParaRPr lang="fr-CA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CA" sz="1800" dirty="0" err="1">
                <a:latin typeface="Arial" panose="020B0604020202020204" pitchFamily="34" charset="0"/>
                <a:cs typeface="Arial" panose="020B0604020202020204" pitchFamily="34" charset="0"/>
              </a:rPr>
              <a:t>Metals</a:t>
            </a:r>
            <a:r>
              <a:rPr lang="fr-CA" sz="1800" dirty="0">
                <a:latin typeface="Arial" panose="020B0604020202020204" pitchFamily="34" charset="0"/>
                <a:cs typeface="Arial" panose="020B0604020202020204" pitchFamily="34" charset="0"/>
              </a:rPr>
              <a:t> in the </a:t>
            </a:r>
            <a:r>
              <a:rPr lang="fr-CA" sz="1800" dirty="0" err="1">
                <a:latin typeface="Arial" panose="020B0604020202020204" pitchFamily="34" charset="0"/>
                <a:cs typeface="Arial" panose="020B0604020202020204" pitchFamily="34" charset="0"/>
              </a:rPr>
              <a:t>red</a:t>
            </a:r>
            <a:r>
              <a:rPr lang="fr-CA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CA" sz="1800" dirty="0" err="1">
                <a:latin typeface="Arial" panose="020B0604020202020204" pitchFamily="34" charset="0"/>
                <a:cs typeface="Arial" panose="020B0604020202020204" pitchFamily="34" charset="0"/>
              </a:rPr>
              <a:t>mud</a:t>
            </a:r>
            <a:r>
              <a:rPr lang="fr-CA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CA" sz="1800" dirty="0" err="1">
                <a:latin typeface="Arial" panose="020B0604020202020204" pitchFamily="34" charset="0"/>
                <a:cs typeface="Arial" panose="020B0604020202020204" pitchFamily="34" charset="0"/>
              </a:rPr>
              <a:t>catalyze</a:t>
            </a:r>
            <a:r>
              <a:rPr lang="fr-CA" sz="1800" dirty="0">
                <a:latin typeface="Arial" panose="020B0604020202020204" pitchFamily="34" charset="0"/>
                <a:cs typeface="Arial" panose="020B0604020202020204" pitchFamily="34" charset="0"/>
              </a:rPr>
              <a:t> the </a:t>
            </a:r>
            <a:r>
              <a:rPr lang="fr-CA" sz="1800" dirty="0" err="1">
                <a:latin typeface="Arial" panose="020B0604020202020204" pitchFamily="34" charset="0"/>
                <a:cs typeface="Arial" panose="020B0604020202020204" pitchFamily="34" charset="0"/>
              </a:rPr>
              <a:t>reduction</a:t>
            </a:r>
            <a:r>
              <a:rPr lang="fr-CA" sz="1800" dirty="0">
                <a:latin typeface="Arial" panose="020B0604020202020204" pitchFamily="34" charset="0"/>
                <a:cs typeface="Arial" panose="020B0604020202020204" pitchFamily="34" charset="0"/>
              </a:rPr>
              <a:t> of the </a:t>
            </a:r>
            <a:r>
              <a:rPr lang="fr-CA" sz="1800" dirty="0" err="1">
                <a:latin typeface="Arial" panose="020B0604020202020204" pitchFamily="34" charset="0"/>
                <a:cs typeface="Arial" panose="020B0604020202020204" pitchFamily="34" charset="0"/>
              </a:rPr>
              <a:t>biofuels</a:t>
            </a:r>
            <a:r>
              <a:rPr lang="fr-CA" sz="1800" dirty="0">
                <a:latin typeface="Arial" panose="020B0604020202020204" pitchFamily="34" charset="0"/>
                <a:cs typeface="Arial" panose="020B0604020202020204" pitchFamily="34" charset="0"/>
              </a:rPr>
              <a:t> to </a:t>
            </a:r>
            <a:r>
              <a:rPr lang="fr-CA" sz="1800" dirty="0" err="1">
                <a:latin typeface="Arial" panose="020B0604020202020204" pitchFamily="34" charset="0"/>
                <a:cs typeface="Arial" panose="020B0604020202020204" pitchFamily="34" charset="0"/>
              </a:rPr>
              <a:t>obtain</a:t>
            </a:r>
            <a:r>
              <a:rPr lang="fr-CA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CA" sz="1800" dirty="0" err="1">
                <a:latin typeface="Arial" panose="020B0604020202020204" pitchFamily="34" charset="0"/>
                <a:cs typeface="Arial" panose="020B0604020202020204" pitchFamily="34" charset="0"/>
              </a:rPr>
              <a:t>higher</a:t>
            </a:r>
            <a:r>
              <a:rPr lang="fr-CA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CA" sz="1800" dirty="0" err="1">
                <a:latin typeface="Arial" panose="020B0604020202020204" pitchFamily="34" charset="0"/>
                <a:cs typeface="Arial" panose="020B0604020202020204" pitchFamily="34" charset="0"/>
              </a:rPr>
              <a:t>quality</a:t>
            </a:r>
            <a:r>
              <a:rPr lang="fr-CA" sz="1800" dirty="0">
                <a:latin typeface="Arial" panose="020B0604020202020204" pitchFamily="34" charset="0"/>
                <a:cs typeface="Arial" panose="020B0604020202020204" pitchFamily="34" charset="0"/>
              </a:rPr>
              <a:t> fuel</a:t>
            </a:r>
          </a:p>
        </p:txBody>
      </p:sp>
      <p:pic>
        <p:nvPicPr>
          <p:cNvPr id="120836" name="Picture 13" descr="biopact_bio-oil_sample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84902" y="2642419"/>
            <a:ext cx="1189038" cy="203358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contourClr>
              <a:srgbClr val="969696"/>
            </a:contourClr>
          </a:sp3d>
        </p:spPr>
      </p:pic>
      <p:pic>
        <p:nvPicPr>
          <p:cNvPr id="120837" name="Picture 3" descr="P6220045"/>
          <p:cNvPicPr>
            <a:picLocks noChangeAspect="1" noChangeArrowheads="1"/>
          </p:cNvPicPr>
          <p:nvPr/>
        </p:nvPicPr>
        <p:blipFill rotWithShape="1">
          <a:blip r:embed="rId4" cstate="print"/>
          <a:srcRect l="9388" t="22579" r="50511" b="26741"/>
          <a:stretch/>
        </p:blipFill>
        <p:spPr bwMode="auto">
          <a:xfrm>
            <a:off x="3324939" y="2762053"/>
            <a:ext cx="1861466" cy="183822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contourClr>
              <a:srgbClr val="969696"/>
            </a:contourClr>
          </a:sp3d>
        </p:spPr>
      </p:pic>
      <p:pic>
        <p:nvPicPr>
          <p:cNvPr id="120838" name="Picture 3" descr="P6220045"/>
          <p:cNvPicPr>
            <a:picLocks noChangeAspect="1" noChangeArrowheads="1"/>
          </p:cNvPicPr>
          <p:nvPr/>
        </p:nvPicPr>
        <p:blipFill>
          <a:blip r:embed="rId5" cstate="print"/>
          <a:srcRect l="51852" t="19281" r="4974" b="24652"/>
          <a:stretch>
            <a:fillRect/>
          </a:stretch>
        </p:blipFill>
        <p:spPr bwMode="auto">
          <a:xfrm>
            <a:off x="9573213" y="2597816"/>
            <a:ext cx="2215483" cy="213416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contourClr>
              <a:srgbClr val="969696"/>
            </a:contourClr>
          </a:sp3d>
        </p:spPr>
      </p:pic>
      <p:sp>
        <p:nvSpPr>
          <p:cNvPr id="21" name="Plus 20"/>
          <p:cNvSpPr/>
          <p:nvPr/>
        </p:nvSpPr>
        <p:spPr>
          <a:xfrm>
            <a:off x="2214656" y="3224710"/>
            <a:ext cx="914400" cy="914400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4" name="Right Arrow 23"/>
          <p:cNvSpPr/>
          <p:nvPr/>
        </p:nvSpPr>
        <p:spPr>
          <a:xfrm>
            <a:off x="5570187" y="3307137"/>
            <a:ext cx="1051626" cy="6858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120841" name="Picture 10" descr="C:\Users\Audrey Moores\AppData\Local\Microsoft\Windows\Temporary Internet Files\Content.IE5\5ILAVHPR\MC900155503[1].wmf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405328" y="3781093"/>
            <a:ext cx="2566988" cy="1206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Plus 25"/>
          <p:cNvSpPr/>
          <p:nvPr/>
        </p:nvSpPr>
        <p:spPr>
          <a:xfrm>
            <a:off x="8396288" y="3248157"/>
            <a:ext cx="838200" cy="838200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7" name="Rectangle 26"/>
          <p:cNvSpPr/>
          <p:nvPr/>
        </p:nvSpPr>
        <p:spPr>
          <a:xfrm>
            <a:off x="400664" y="4753898"/>
            <a:ext cx="20574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600" b="1" dirty="0">
                <a:solidFill>
                  <a:schemeClr val="hlin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o-crude: biowaste</a:t>
            </a:r>
          </a:p>
        </p:txBody>
      </p:sp>
      <p:sp>
        <p:nvSpPr>
          <p:cNvPr id="28" name="Rectangle 27"/>
          <p:cNvSpPr/>
          <p:nvPr/>
        </p:nvSpPr>
        <p:spPr>
          <a:xfrm>
            <a:off x="3301178" y="4758879"/>
            <a:ext cx="21336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 mud: industrial waste</a:t>
            </a:r>
          </a:p>
        </p:txBody>
      </p:sp>
      <p:sp>
        <p:nvSpPr>
          <p:cNvPr id="29" name="Rectangle 28"/>
          <p:cNvSpPr/>
          <p:nvPr/>
        </p:nvSpPr>
        <p:spPr>
          <a:xfrm>
            <a:off x="7435371" y="5047566"/>
            <a:ext cx="1219200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600" b="1" dirty="0">
                <a:solidFill>
                  <a:srgbClr val="003F7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el</a:t>
            </a:r>
            <a:r>
              <a:rPr lang="en-US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20846" name="Text Box 5"/>
          <p:cNvSpPr txBox="1">
            <a:spLocks noChangeArrowheads="1"/>
          </p:cNvSpPr>
          <p:nvPr/>
        </p:nvSpPr>
        <p:spPr bwMode="auto">
          <a:xfrm>
            <a:off x="884902" y="1201597"/>
            <a:ext cx="962759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See: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Karimi, E.; Gomez, A.;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Kycia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, S. W.;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Schlaf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, M. </a:t>
            </a:r>
            <a:r>
              <a:rPr lang="en-US" sz="1600" i="1" dirty="0">
                <a:latin typeface="Arial" panose="020B0604020202020204" pitchFamily="34" charset="0"/>
                <a:cs typeface="Arial" panose="020B0604020202020204" pitchFamily="34" charset="0"/>
              </a:rPr>
              <a:t>Energy &amp; Fuels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2010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i="1" dirty="0">
                <a:latin typeface="Arial" panose="020B0604020202020204" pitchFamily="34" charset="0"/>
                <a:cs typeface="Arial" panose="020B0604020202020204" pitchFamily="34" charset="0"/>
              </a:rPr>
              <a:t>24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, 2747.</a:t>
            </a:r>
          </a:p>
        </p:txBody>
      </p:sp>
      <p:sp>
        <p:nvSpPr>
          <p:cNvPr id="31" name="Rectangle 30"/>
          <p:cNvSpPr/>
          <p:nvPr/>
        </p:nvSpPr>
        <p:spPr>
          <a:xfrm>
            <a:off x="9440742" y="4889337"/>
            <a:ext cx="248042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Neutral, magnetic powder could be used to make cement.</a:t>
            </a:r>
          </a:p>
        </p:txBody>
      </p:sp>
      <p:sp>
        <p:nvSpPr>
          <p:cNvPr id="17" name="Rounded Rectangle 16"/>
          <p:cNvSpPr/>
          <p:nvPr/>
        </p:nvSpPr>
        <p:spPr>
          <a:xfrm>
            <a:off x="860551" y="5419381"/>
            <a:ext cx="1214617" cy="634155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pH 2</a:t>
            </a:r>
            <a:endParaRPr lang="en-US" dirty="0"/>
          </a:p>
        </p:txBody>
      </p:sp>
      <p:sp>
        <p:nvSpPr>
          <p:cNvPr id="18" name="Rounded Rectangle 17"/>
          <p:cNvSpPr/>
          <p:nvPr/>
        </p:nvSpPr>
        <p:spPr>
          <a:xfrm>
            <a:off x="3752065" y="5416271"/>
            <a:ext cx="1214617" cy="634155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pH 14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5769954" y="2815652"/>
            <a:ext cx="439995" cy="39928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</a:t>
            </a:r>
            <a:r>
              <a:rPr lang="en-US" baseline="-25000" dirty="0"/>
              <a:t>2</a:t>
            </a:r>
          </a:p>
        </p:txBody>
      </p:sp>
      <p:sp>
        <p:nvSpPr>
          <p:cNvPr id="20" name="Rectangle 19"/>
          <p:cNvSpPr/>
          <p:nvPr/>
        </p:nvSpPr>
        <p:spPr>
          <a:xfrm>
            <a:off x="405583" y="6096003"/>
            <a:ext cx="2057400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600" b="1" dirty="0">
                <a:solidFill>
                  <a:schemeClr val="hlin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bon source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979174" y="6050549"/>
            <a:ext cx="271370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 of metals for catalytic reduction </a:t>
            </a:r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215245" y="528599"/>
            <a:ext cx="11976755" cy="550856"/>
          </a:xfrm>
        </p:spPr>
        <p:txBody>
          <a:bodyPr wrap="square">
            <a:spAutoFit/>
          </a:bodyPr>
          <a:lstStyle/>
          <a:p>
            <a:pPr algn="ctr">
              <a:lnSpc>
                <a:spcPts val="3500"/>
              </a:lnSpc>
            </a:pPr>
            <a:r>
              <a:rPr lang="en-US" sz="3600" b="1" dirty="0">
                <a:latin typeface="+mn-lt"/>
              </a:rPr>
              <a:t>Neutralization of Red Mud through Generation of Biofuels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E773710-567B-48EA-8A1B-E8C069DE471D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037866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35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306372" y="1394755"/>
            <a:ext cx="8867126" cy="487362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 </a:t>
            </a:r>
            <a:r>
              <a:rPr lang="en-US" sz="2000" i="1" dirty="0">
                <a:latin typeface="Arial" panose="020B0604020202020204" pitchFamily="34" charset="0"/>
                <a:cs typeface="Arial" panose="020B0604020202020204" pitchFamily="34" charset="0"/>
              </a:rPr>
              <a:t>Mari Signum Mid-Atlantic, LLC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, are commercializing a safe, environmentally-friendly, low energy and less costly process to produce chitin from seafood waste. </a:t>
            </a:r>
          </a:p>
          <a:p>
            <a:pPr marL="0" indent="0">
              <a:buNone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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chitin is used in a variety of applications, such as food processing, biodegradable plastics and biomedical applications. </a:t>
            </a:r>
          </a:p>
          <a:p>
            <a:pPr marL="0" indent="0">
              <a:buNone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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this zero-discharge process produces a very high-grade and pure chitin, making use of and monetizing this seafood processing waste.</a:t>
            </a:r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1307690" y="362821"/>
            <a:ext cx="9350478" cy="541174"/>
          </a:xfrm>
        </p:spPr>
        <p:txBody>
          <a:bodyPr wrap="square">
            <a:spAutoFit/>
          </a:bodyPr>
          <a:lstStyle/>
          <a:p>
            <a:pPr algn="ctr">
              <a:lnSpc>
                <a:spcPts val="3500"/>
              </a:lnSpc>
            </a:pPr>
            <a:r>
              <a:rPr lang="en-US" sz="3600" b="1" dirty="0">
                <a:latin typeface="+mn-lt"/>
              </a:rPr>
              <a:t>Example: Extracting chitin with an ionic liquid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E773710-567B-48EA-8A1B-E8C069DE471D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80091" y="1980328"/>
            <a:ext cx="2998840" cy="200172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contourClr>
              <a:srgbClr val="969696"/>
            </a:contourClr>
          </a:sp3d>
        </p:spPr>
      </p:pic>
      <p:sp>
        <p:nvSpPr>
          <p:cNvPr id="4" name="Rectangle 3"/>
          <p:cNvSpPr/>
          <p:nvPr/>
        </p:nvSpPr>
        <p:spPr>
          <a:xfrm>
            <a:off x="9080091" y="4074360"/>
            <a:ext cx="300375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/>
              <a:t>Dr. Connelly (ACS), Robin Rogers, Julia Shamshina and John Keyes (awardees)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959" y="4896848"/>
            <a:ext cx="1253209" cy="1450474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78658" y="6325765"/>
            <a:ext cx="1203468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https://communities.acs.org/community/science/sustainability/green-chemistry-nexus-blog/blog/2018/10/18/american-chemical-society-announces-2018-green-chemistry-challenge-award-winners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0639" y="4755801"/>
            <a:ext cx="2123728" cy="1253000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6717" y="4246680"/>
            <a:ext cx="1018241" cy="1018241"/>
          </a:xfrm>
          <a:prstGeom prst="rect">
            <a:avLst/>
          </a:prstGeom>
        </p:spPr>
      </p:pic>
      <p:sp>
        <p:nvSpPr>
          <p:cNvPr id="33" name="TextBox 32"/>
          <p:cNvSpPr txBox="1"/>
          <p:nvPr/>
        </p:nvSpPr>
        <p:spPr>
          <a:xfrm>
            <a:off x="4754924" y="6020172"/>
            <a:ext cx="16822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chitin</a:t>
            </a:r>
            <a:endParaRPr lang="en-US" b="1" dirty="0"/>
          </a:p>
        </p:txBody>
      </p:sp>
      <p:grpSp>
        <p:nvGrpSpPr>
          <p:cNvPr id="34" name="Chemistry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2638945" y="4587150"/>
            <a:ext cx="1136642" cy="1392770"/>
            <a:chOff x="2010927" y="2232917"/>
            <a:chExt cx="2370877" cy="2905125"/>
          </a:xfrm>
          <a:solidFill>
            <a:srgbClr val="FFC000"/>
          </a:solidFill>
        </p:grpSpPr>
        <p:sp>
          <p:nvSpPr>
            <p:cNvPr id="35" name="Freeform: Shape 1808"/>
            <p:cNvSpPr>
              <a:spLocks/>
            </p:cNvSpPr>
            <p:nvPr/>
          </p:nvSpPr>
          <p:spPr bwMode="auto">
            <a:xfrm>
              <a:off x="2010927" y="2232917"/>
              <a:ext cx="2370877" cy="2905125"/>
            </a:xfrm>
            <a:custGeom>
              <a:avLst/>
              <a:gdLst>
                <a:gd name="connsiteX0" fmla="*/ 882676 w 2370877"/>
                <a:gd name="connsiteY0" fmla="*/ 76200 h 2905125"/>
                <a:gd name="connsiteX1" fmla="*/ 844152 w 2370877"/>
                <a:gd name="connsiteY1" fmla="*/ 115523 h 2905125"/>
                <a:gd name="connsiteX2" fmla="*/ 844152 w 2370877"/>
                <a:gd name="connsiteY2" fmla="*/ 157974 h 2905125"/>
                <a:gd name="connsiteX3" fmla="*/ 882676 w 2370877"/>
                <a:gd name="connsiteY3" fmla="*/ 196850 h 2905125"/>
                <a:gd name="connsiteX4" fmla="*/ 896540 w 2370877"/>
                <a:gd name="connsiteY4" fmla="*/ 196850 h 2905125"/>
                <a:gd name="connsiteX5" fmla="*/ 896540 w 2370877"/>
                <a:gd name="connsiteY5" fmla="*/ 1173827 h 2905125"/>
                <a:gd name="connsiteX6" fmla="*/ 879957 w 2370877"/>
                <a:gd name="connsiteY6" fmla="*/ 1200487 h 2905125"/>
                <a:gd name="connsiteX7" fmla="*/ 841527 w 2370877"/>
                <a:gd name="connsiteY7" fmla="*/ 1274296 h 2905125"/>
                <a:gd name="connsiteX8" fmla="*/ 204640 w 2370877"/>
                <a:gd name="connsiteY8" fmla="*/ 2454129 h 2905125"/>
                <a:gd name="connsiteX9" fmla="*/ 407205 w 2370877"/>
                <a:gd name="connsiteY9" fmla="*/ 2797175 h 2905125"/>
                <a:gd name="connsiteX10" fmla="*/ 1962712 w 2370877"/>
                <a:gd name="connsiteY10" fmla="*/ 2797175 h 2905125"/>
                <a:gd name="connsiteX11" fmla="*/ 2165277 w 2370877"/>
                <a:gd name="connsiteY11" fmla="*/ 2454129 h 2905125"/>
                <a:gd name="connsiteX12" fmla="*/ 1528391 w 2370877"/>
                <a:gd name="connsiteY12" fmla="*/ 1274296 h 2905125"/>
                <a:gd name="connsiteX13" fmla="*/ 1489961 w 2370877"/>
                <a:gd name="connsiteY13" fmla="*/ 1200487 h 2905125"/>
                <a:gd name="connsiteX14" fmla="*/ 1474390 w 2370877"/>
                <a:gd name="connsiteY14" fmla="*/ 1175456 h 2905125"/>
                <a:gd name="connsiteX15" fmla="*/ 1474390 w 2370877"/>
                <a:gd name="connsiteY15" fmla="*/ 196850 h 2905125"/>
                <a:gd name="connsiteX16" fmla="*/ 1486223 w 2370877"/>
                <a:gd name="connsiteY16" fmla="*/ 196850 h 2905125"/>
                <a:gd name="connsiteX17" fmla="*/ 1525190 w 2370877"/>
                <a:gd name="connsiteY17" fmla="*/ 157974 h 2905125"/>
                <a:gd name="connsiteX18" fmla="*/ 1525190 w 2370877"/>
                <a:gd name="connsiteY18" fmla="*/ 115523 h 2905125"/>
                <a:gd name="connsiteX19" fmla="*/ 1486223 w 2370877"/>
                <a:gd name="connsiteY19" fmla="*/ 76200 h 2905125"/>
                <a:gd name="connsiteX20" fmla="*/ 845347 w 2370877"/>
                <a:gd name="connsiteY20" fmla="*/ 0 h 2905125"/>
                <a:gd name="connsiteX21" fmla="*/ 1524961 w 2370877"/>
                <a:gd name="connsiteY21" fmla="*/ 0 h 2905125"/>
                <a:gd name="connsiteX22" fmla="*/ 1615163 w 2370877"/>
                <a:gd name="connsiteY22" fmla="*/ 108156 h 2905125"/>
                <a:gd name="connsiteX23" fmla="*/ 1615163 w 2370877"/>
                <a:gd name="connsiteY23" fmla="*/ 151152 h 2905125"/>
                <a:gd name="connsiteX24" fmla="*/ 1565198 w 2370877"/>
                <a:gd name="connsiteY24" fmla="*/ 231825 h 2905125"/>
                <a:gd name="connsiteX25" fmla="*/ 1566082 w 2370877"/>
                <a:gd name="connsiteY25" fmla="*/ 249555 h 2905125"/>
                <a:gd name="connsiteX26" fmla="*/ 1566082 w 2370877"/>
                <a:gd name="connsiteY26" fmla="*/ 1101944 h 2905125"/>
                <a:gd name="connsiteX27" fmla="*/ 1606320 w 2370877"/>
                <a:gd name="connsiteY27" fmla="*/ 1179515 h 2905125"/>
                <a:gd name="connsiteX28" fmla="*/ 2336783 w 2370877"/>
                <a:gd name="connsiteY28" fmla="*/ 2503975 h 2905125"/>
                <a:gd name="connsiteX29" fmla="*/ 2098896 w 2370877"/>
                <a:gd name="connsiteY29" fmla="*/ 2905125 h 2905125"/>
                <a:gd name="connsiteX30" fmla="*/ 270969 w 2370877"/>
                <a:gd name="connsiteY30" fmla="*/ 2905125 h 2905125"/>
                <a:gd name="connsiteX31" fmla="*/ 33082 w 2370877"/>
                <a:gd name="connsiteY31" fmla="*/ 2503975 h 2905125"/>
                <a:gd name="connsiteX32" fmla="*/ 763545 w 2370877"/>
                <a:gd name="connsiteY32" fmla="*/ 1179515 h 2905125"/>
                <a:gd name="connsiteX33" fmla="*/ 803783 w 2370877"/>
                <a:gd name="connsiteY33" fmla="*/ 1101944 h 2905125"/>
                <a:gd name="connsiteX34" fmla="*/ 803783 w 2370877"/>
                <a:gd name="connsiteY34" fmla="*/ 249555 h 2905125"/>
                <a:gd name="connsiteX35" fmla="*/ 804667 w 2370877"/>
                <a:gd name="connsiteY35" fmla="*/ 231825 h 2905125"/>
                <a:gd name="connsiteX36" fmla="*/ 755144 w 2370877"/>
                <a:gd name="connsiteY36" fmla="*/ 151152 h 2905125"/>
                <a:gd name="connsiteX37" fmla="*/ 755144 w 2370877"/>
                <a:gd name="connsiteY37" fmla="*/ 108156 h 2905125"/>
                <a:gd name="connsiteX38" fmla="*/ 845347 w 2370877"/>
                <a:gd name="connsiteY38" fmla="*/ 0 h 2905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370877" h="2905125">
                  <a:moveTo>
                    <a:pt x="882676" y="76200"/>
                  </a:moveTo>
                  <a:cubicBezTo>
                    <a:pt x="861422" y="76200"/>
                    <a:pt x="844152" y="93627"/>
                    <a:pt x="844152" y="115523"/>
                  </a:cubicBezTo>
                  <a:lnTo>
                    <a:pt x="844152" y="157974"/>
                  </a:lnTo>
                  <a:cubicBezTo>
                    <a:pt x="844152" y="179423"/>
                    <a:pt x="861422" y="196850"/>
                    <a:pt x="882676" y="196850"/>
                  </a:cubicBezTo>
                  <a:lnTo>
                    <a:pt x="896540" y="196850"/>
                  </a:lnTo>
                  <a:lnTo>
                    <a:pt x="896540" y="1173827"/>
                  </a:lnTo>
                  <a:lnTo>
                    <a:pt x="879957" y="1200487"/>
                  </a:lnTo>
                  <a:cubicBezTo>
                    <a:pt x="867234" y="1224296"/>
                    <a:pt x="854906" y="1249476"/>
                    <a:pt x="841527" y="1274296"/>
                  </a:cubicBezTo>
                  <a:lnTo>
                    <a:pt x="204640" y="2454129"/>
                  </a:lnTo>
                  <a:cubicBezTo>
                    <a:pt x="90089" y="2666427"/>
                    <a:pt x="294866" y="2797175"/>
                    <a:pt x="407205" y="2797175"/>
                  </a:cubicBezTo>
                  <a:lnTo>
                    <a:pt x="1962712" y="2797175"/>
                  </a:lnTo>
                  <a:cubicBezTo>
                    <a:pt x="2074609" y="2797175"/>
                    <a:pt x="2293539" y="2692134"/>
                    <a:pt x="2165277" y="2454129"/>
                  </a:cubicBezTo>
                  <a:lnTo>
                    <a:pt x="1528391" y="1274296"/>
                  </a:lnTo>
                  <a:cubicBezTo>
                    <a:pt x="1515012" y="1249476"/>
                    <a:pt x="1502683" y="1224296"/>
                    <a:pt x="1489961" y="1200487"/>
                  </a:cubicBezTo>
                  <a:lnTo>
                    <a:pt x="1474390" y="1175456"/>
                  </a:lnTo>
                  <a:lnTo>
                    <a:pt x="1474390" y="196850"/>
                  </a:lnTo>
                  <a:lnTo>
                    <a:pt x="1486223" y="196850"/>
                  </a:lnTo>
                  <a:cubicBezTo>
                    <a:pt x="1507921" y="196850"/>
                    <a:pt x="1525190" y="179423"/>
                    <a:pt x="1525190" y="157974"/>
                  </a:cubicBezTo>
                  <a:lnTo>
                    <a:pt x="1525190" y="115523"/>
                  </a:lnTo>
                  <a:cubicBezTo>
                    <a:pt x="1525190" y="93627"/>
                    <a:pt x="1507921" y="76200"/>
                    <a:pt x="1486223" y="76200"/>
                  </a:cubicBezTo>
                  <a:close/>
                  <a:moveTo>
                    <a:pt x="845347" y="0"/>
                  </a:moveTo>
                  <a:lnTo>
                    <a:pt x="1524961" y="0"/>
                  </a:lnTo>
                  <a:cubicBezTo>
                    <a:pt x="1574926" y="0"/>
                    <a:pt x="1615163" y="58067"/>
                    <a:pt x="1615163" y="108156"/>
                  </a:cubicBezTo>
                  <a:lnTo>
                    <a:pt x="1615163" y="151152"/>
                  </a:lnTo>
                  <a:cubicBezTo>
                    <a:pt x="1615163" y="186613"/>
                    <a:pt x="1594381" y="217197"/>
                    <a:pt x="1565198" y="231825"/>
                  </a:cubicBezTo>
                  <a:cubicBezTo>
                    <a:pt x="1565640" y="237587"/>
                    <a:pt x="1566082" y="243793"/>
                    <a:pt x="1566082" y="249555"/>
                  </a:cubicBezTo>
                  <a:lnTo>
                    <a:pt x="1566082" y="1101944"/>
                  </a:lnTo>
                  <a:cubicBezTo>
                    <a:pt x="1579348" y="1127210"/>
                    <a:pt x="1592170" y="1153362"/>
                    <a:pt x="1606320" y="1179515"/>
                  </a:cubicBezTo>
                  <a:lnTo>
                    <a:pt x="2336783" y="2503975"/>
                  </a:lnTo>
                  <a:cubicBezTo>
                    <a:pt x="2457053" y="2725162"/>
                    <a:pt x="2230663" y="2905125"/>
                    <a:pt x="2098896" y="2905125"/>
                  </a:cubicBezTo>
                  <a:lnTo>
                    <a:pt x="270969" y="2905125"/>
                  </a:lnTo>
                  <a:cubicBezTo>
                    <a:pt x="139203" y="2905125"/>
                    <a:pt x="-84535" y="2720729"/>
                    <a:pt x="33082" y="2503975"/>
                  </a:cubicBezTo>
                  <a:lnTo>
                    <a:pt x="763545" y="1179515"/>
                  </a:lnTo>
                  <a:cubicBezTo>
                    <a:pt x="777695" y="1153362"/>
                    <a:pt x="790518" y="1127210"/>
                    <a:pt x="803783" y="1101944"/>
                  </a:cubicBezTo>
                  <a:lnTo>
                    <a:pt x="803783" y="249555"/>
                  </a:lnTo>
                  <a:cubicBezTo>
                    <a:pt x="803783" y="243793"/>
                    <a:pt x="804225" y="237587"/>
                    <a:pt x="804667" y="231825"/>
                  </a:cubicBezTo>
                  <a:cubicBezTo>
                    <a:pt x="775484" y="217197"/>
                    <a:pt x="755144" y="186613"/>
                    <a:pt x="755144" y="151152"/>
                  </a:cubicBezTo>
                  <a:lnTo>
                    <a:pt x="755144" y="108156"/>
                  </a:lnTo>
                  <a:cubicBezTo>
                    <a:pt x="755144" y="58067"/>
                    <a:pt x="795382" y="0"/>
                    <a:pt x="845347" y="0"/>
                  </a:cubicBezTo>
                  <a:close/>
                </a:path>
              </a:pathLst>
            </a:custGeom>
            <a:grpFill/>
            <a:ln w="0">
              <a:solidFill>
                <a:srgbClr val="FFFF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36" name="Freeform: Shape 1809"/>
            <p:cNvSpPr>
              <a:spLocks/>
            </p:cNvSpPr>
            <p:nvPr/>
          </p:nvSpPr>
          <p:spPr bwMode="auto">
            <a:xfrm>
              <a:off x="2312457" y="3603813"/>
              <a:ext cx="1796940" cy="1348492"/>
            </a:xfrm>
            <a:custGeom>
              <a:avLst/>
              <a:gdLst>
                <a:gd name="connsiteX0" fmla="*/ 615647 w 1796940"/>
                <a:gd name="connsiteY0" fmla="*/ 486479 h 1348492"/>
                <a:gd name="connsiteX1" fmla="*/ 518809 w 1796940"/>
                <a:gd name="connsiteY1" fmla="*/ 584111 h 1348492"/>
                <a:gd name="connsiteX2" fmla="*/ 615647 w 1796940"/>
                <a:gd name="connsiteY2" fmla="*/ 681743 h 1348492"/>
                <a:gd name="connsiteX3" fmla="*/ 653341 w 1796940"/>
                <a:gd name="connsiteY3" fmla="*/ 674071 h 1348492"/>
                <a:gd name="connsiteX4" fmla="*/ 663961 w 1796940"/>
                <a:gd name="connsiteY4" fmla="*/ 666852 h 1348492"/>
                <a:gd name="connsiteX5" fmla="*/ 630146 w 1796940"/>
                <a:gd name="connsiteY5" fmla="*/ 717006 h 1348492"/>
                <a:gd name="connsiteX6" fmla="*/ 617234 w 1796940"/>
                <a:gd name="connsiteY6" fmla="*/ 780961 h 1348492"/>
                <a:gd name="connsiteX7" fmla="*/ 781541 w 1796940"/>
                <a:gd name="connsiteY7" fmla="*/ 945268 h 1348492"/>
                <a:gd name="connsiteX8" fmla="*/ 945848 w 1796940"/>
                <a:gd name="connsiteY8" fmla="*/ 780961 h 1348492"/>
                <a:gd name="connsiteX9" fmla="*/ 781541 w 1796940"/>
                <a:gd name="connsiteY9" fmla="*/ 616654 h 1348492"/>
                <a:gd name="connsiteX10" fmla="*/ 717586 w 1796940"/>
                <a:gd name="connsiteY10" fmla="*/ 629566 h 1348492"/>
                <a:gd name="connsiteX11" fmla="*/ 685364 w 1796940"/>
                <a:gd name="connsiteY11" fmla="*/ 651291 h 1348492"/>
                <a:gd name="connsiteX12" fmla="*/ 704875 w 1796940"/>
                <a:gd name="connsiteY12" fmla="*/ 622114 h 1348492"/>
                <a:gd name="connsiteX13" fmla="*/ 712485 w 1796940"/>
                <a:gd name="connsiteY13" fmla="*/ 584111 h 1348492"/>
                <a:gd name="connsiteX14" fmla="*/ 615647 w 1796940"/>
                <a:gd name="connsiteY14" fmla="*/ 486479 h 1348492"/>
                <a:gd name="connsiteX15" fmla="*/ 1037922 w 1796940"/>
                <a:gd name="connsiteY15" fmla="*/ 337254 h 1348492"/>
                <a:gd name="connsiteX16" fmla="*/ 980772 w 1796940"/>
                <a:gd name="connsiteY16" fmla="*/ 394404 h 1348492"/>
                <a:gd name="connsiteX17" fmla="*/ 1037922 w 1796940"/>
                <a:gd name="connsiteY17" fmla="*/ 451554 h 1348492"/>
                <a:gd name="connsiteX18" fmla="*/ 1095072 w 1796940"/>
                <a:gd name="connsiteY18" fmla="*/ 394404 h 1348492"/>
                <a:gd name="connsiteX19" fmla="*/ 1037922 w 1796940"/>
                <a:gd name="connsiteY19" fmla="*/ 337254 h 1348492"/>
                <a:gd name="connsiteX20" fmla="*/ 1150202 w 1796940"/>
                <a:gd name="connsiteY20" fmla="*/ 1095 h 1348492"/>
                <a:gd name="connsiteX21" fmla="*/ 1254963 w 1796940"/>
                <a:gd name="connsiteY21" fmla="*/ 77918 h 1348492"/>
                <a:gd name="connsiteX22" fmla="*/ 1763091 w 1796940"/>
                <a:gd name="connsiteY22" fmla="*/ 1045131 h 1348492"/>
                <a:gd name="connsiteX23" fmla="*/ 1583986 w 1796940"/>
                <a:gd name="connsiteY23" fmla="*/ 1348492 h 1348492"/>
                <a:gd name="connsiteX24" fmla="*/ 209078 w 1796940"/>
                <a:gd name="connsiteY24" fmla="*/ 1348492 h 1348492"/>
                <a:gd name="connsiteX25" fmla="*/ 29973 w 1796940"/>
                <a:gd name="connsiteY25" fmla="*/ 1045131 h 1348492"/>
                <a:gd name="connsiteX26" fmla="*/ 528372 w 1796940"/>
                <a:gd name="connsiteY26" fmla="*/ 127519 h 1348492"/>
                <a:gd name="connsiteX27" fmla="*/ 1150202 w 1796940"/>
                <a:gd name="connsiteY27" fmla="*/ 1095 h 1348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796940" h="1348492">
                  <a:moveTo>
                    <a:pt x="615647" y="486479"/>
                  </a:moveTo>
                  <a:cubicBezTo>
                    <a:pt x="562165" y="486479"/>
                    <a:pt x="518809" y="530190"/>
                    <a:pt x="518809" y="584111"/>
                  </a:cubicBezTo>
                  <a:cubicBezTo>
                    <a:pt x="518809" y="638032"/>
                    <a:pt x="562165" y="681743"/>
                    <a:pt x="615647" y="681743"/>
                  </a:cubicBezTo>
                  <a:cubicBezTo>
                    <a:pt x="629018" y="681743"/>
                    <a:pt x="641755" y="679011"/>
                    <a:pt x="653341" y="674071"/>
                  </a:cubicBezTo>
                  <a:lnTo>
                    <a:pt x="663961" y="666852"/>
                  </a:lnTo>
                  <a:lnTo>
                    <a:pt x="630146" y="717006"/>
                  </a:lnTo>
                  <a:cubicBezTo>
                    <a:pt x="621832" y="736663"/>
                    <a:pt x="617234" y="758275"/>
                    <a:pt x="617234" y="780961"/>
                  </a:cubicBezTo>
                  <a:cubicBezTo>
                    <a:pt x="617234" y="871705"/>
                    <a:pt x="690797" y="945268"/>
                    <a:pt x="781541" y="945268"/>
                  </a:cubicBezTo>
                  <a:cubicBezTo>
                    <a:pt x="872285" y="945268"/>
                    <a:pt x="945848" y="871705"/>
                    <a:pt x="945848" y="780961"/>
                  </a:cubicBezTo>
                  <a:cubicBezTo>
                    <a:pt x="945848" y="690217"/>
                    <a:pt x="872285" y="616654"/>
                    <a:pt x="781541" y="616654"/>
                  </a:cubicBezTo>
                  <a:cubicBezTo>
                    <a:pt x="758855" y="616654"/>
                    <a:pt x="737243" y="621252"/>
                    <a:pt x="717586" y="629566"/>
                  </a:cubicBezTo>
                  <a:lnTo>
                    <a:pt x="685364" y="651291"/>
                  </a:lnTo>
                  <a:lnTo>
                    <a:pt x="704875" y="622114"/>
                  </a:lnTo>
                  <a:cubicBezTo>
                    <a:pt x="709776" y="610434"/>
                    <a:pt x="712485" y="597592"/>
                    <a:pt x="712485" y="584111"/>
                  </a:cubicBezTo>
                  <a:cubicBezTo>
                    <a:pt x="712485" y="530190"/>
                    <a:pt x="669129" y="486479"/>
                    <a:pt x="615647" y="486479"/>
                  </a:cubicBezTo>
                  <a:close/>
                  <a:moveTo>
                    <a:pt x="1037922" y="337254"/>
                  </a:moveTo>
                  <a:cubicBezTo>
                    <a:pt x="1006359" y="337254"/>
                    <a:pt x="980772" y="362841"/>
                    <a:pt x="980772" y="394404"/>
                  </a:cubicBezTo>
                  <a:cubicBezTo>
                    <a:pt x="980772" y="425967"/>
                    <a:pt x="1006359" y="451554"/>
                    <a:pt x="1037922" y="451554"/>
                  </a:cubicBezTo>
                  <a:cubicBezTo>
                    <a:pt x="1069485" y="451554"/>
                    <a:pt x="1095072" y="425967"/>
                    <a:pt x="1095072" y="394404"/>
                  </a:cubicBezTo>
                  <a:cubicBezTo>
                    <a:pt x="1095072" y="362841"/>
                    <a:pt x="1069485" y="337254"/>
                    <a:pt x="1037922" y="337254"/>
                  </a:cubicBezTo>
                  <a:close/>
                  <a:moveTo>
                    <a:pt x="1150202" y="1095"/>
                  </a:moveTo>
                  <a:cubicBezTo>
                    <a:pt x="1189817" y="-4980"/>
                    <a:pt x="1223454" y="13371"/>
                    <a:pt x="1254963" y="77918"/>
                  </a:cubicBezTo>
                  <a:lnTo>
                    <a:pt x="1763091" y="1045131"/>
                  </a:lnTo>
                  <a:cubicBezTo>
                    <a:pt x="1874534" y="1256820"/>
                    <a:pt x="1683489" y="1348492"/>
                    <a:pt x="1583986" y="1348492"/>
                  </a:cubicBezTo>
                  <a:lnTo>
                    <a:pt x="209078" y="1348492"/>
                  </a:lnTo>
                  <a:cubicBezTo>
                    <a:pt x="110018" y="1348492"/>
                    <a:pt x="-71741" y="1232462"/>
                    <a:pt x="29973" y="1045131"/>
                  </a:cubicBezTo>
                  <a:lnTo>
                    <a:pt x="528372" y="127519"/>
                  </a:lnTo>
                  <a:cubicBezTo>
                    <a:pt x="858721" y="257389"/>
                    <a:pt x="1031358" y="19322"/>
                    <a:pt x="1150202" y="1095"/>
                  </a:cubicBezTo>
                  <a:close/>
                </a:path>
              </a:pathLst>
            </a:custGeom>
            <a:grpFill/>
            <a:ln w="0">
              <a:solidFill>
                <a:srgbClr val="FFFF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37" name="Freeform 67"/>
            <p:cNvSpPr>
              <a:spLocks/>
            </p:cNvSpPr>
            <p:nvPr/>
          </p:nvSpPr>
          <p:spPr bwMode="auto">
            <a:xfrm>
              <a:off x="3301166" y="2437705"/>
              <a:ext cx="84138" cy="909638"/>
            </a:xfrm>
            <a:custGeom>
              <a:avLst/>
              <a:gdLst>
                <a:gd name="T0" fmla="*/ 94 w 188"/>
                <a:gd name="T1" fmla="*/ 0 h 2052"/>
                <a:gd name="T2" fmla="*/ 94 w 188"/>
                <a:gd name="T3" fmla="*/ 0 h 2052"/>
                <a:gd name="T4" fmla="*/ 188 w 188"/>
                <a:gd name="T5" fmla="*/ 94 h 2052"/>
                <a:gd name="T6" fmla="*/ 188 w 188"/>
                <a:gd name="T7" fmla="*/ 1957 h 2052"/>
                <a:gd name="T8" fmla="*/ 94 w 188"/>
                <a:gd name="T9" fmla="*/ 2052 h 2052"/>
                <a:gd name="T10" fmla="*/ 94 w 188"/>
                <a:gd name="T11" fmla="*/ 2052 h 2052"/>
                <a:gd name="T12" fmla="*/ 0 w 188"/>
                <a:gd name="T13" fmla="*/ 1957 h 2052"/>
                <a:gd name="T14" fmla="*/ 0 w 188"/>
                <a:gd name="T15" fmla="*/ 94 h 2052"/>
                <a:gd name="T16" fmla="*/ 94 w 188"/>
                <a:gd name="T17" fmla="*/ 0 h 2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" h="2052">
                  <a:moveTo>
                    <a:pt x="94" y="0"/>
                  </a:moveTo>
                  <a:lnTo>
                    <a:pt x="94" y="0"/>
                  </a:lnTo>
                  <a:cubicBezTo>
                    <a:pt x="146" y="0"/>
                    <a:pt x="188" y="42"/>
                    <a:pt x="188" y="94"/>
                  </a:cubicBezTo>
                  <a:lnTo>
                    <a:pt x="188" y="1957"/>
                  </a:lnTo>
                  <a:cubicBezTo>
                    <a:pt x="188" y="2009"/>
                    <a:pt x="146" y="2052"/>
                    <a:pt x="94" y="2052"/>
                  </a:cubicBezTo>
                  <a:lnTo>
                    <a:pt x="94" y="2052"/>
                  </a:lnTo>
                  <a:cubicBezTo>
                    <a:pt x="42" y="2052"/>
                    <a:pt x="0" y="2009"/>
                    <a:pt x="0" y="1957"/>
                  </a:cubicBezTo>
                  <a:lnTo>
                    <a:pt x="0" y="94"/>
                  </a:lnTo>
                  <a:cubicBezTo>
                    <a:pt x="0" y="42"/>
                    <a:pt x="42" y="0"/>
                    <a:pt x="94" y="0"/>
                  </a:cubicBezTo>
                  <a:close/>
                </a:path>
              </a:pathLst>
            </a:custGeom>
            <a:grpFill/>
            <a:ln w="0">
              <a:solidFill>
                <a:srgbClr val="FFFF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8" name="TextBox 37"/>
          <p:cNvSpPr txBox="1"/>
          <p:nvPr/>
        </p:nvSpPr>
        <p:spPr>
          <a:xfrm>
            <a:off x="2456744" y="6039545"/>
            <a:ext cx="16822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ionic liquid</a:t>
            </a:r>
            <a:endParaRPr lang="en-US" b="1" dirty="0"/>
          </a:p>
        </p:txBody>
      </p:sp>
      <p:sp>
        <p:nvSpPr>
          <p:cNvPr id="7" name="Curved Down Arrow 6"/>
          <p:cNvSpPr/>
          <p:nvPr/>
        </p:nvSpPr>
        <p:spPr>
          <a:xfrm>
            <a:off x="1976284" y="4048477"/>
            <a:ext cx="1230982" cy="370538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Right Arrow 7"/>
          <p:cNvSpPr/>
          <p:nvPr/>
        </p:nvSpPr>
        <p:spPr>
          <a:xfrm>
            <a:off x="3824019" y="5264921"/>
            <a:ext cx="786248" cy="31980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ight Arrow 38"/>
          <p:cNvSpPr/>
          <p:nvPr/>
        </p:nvSpPr>
        <p:spPr>
          <a:xfrm>
            <a:off x="7170981" y="5249366"/>
            <a:ext cx="786248" cy="31980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3840" y="4696514"/>
            <a:ext cx="1608633" cy="1608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41270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16226" y="168135"/>
            <a:ext cx="5759548" cy="707886"/>
          </a:xfr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4000" b="1" dirty="0">
                <a:latin typeface="+mn-lt"/>
              </a:rPr>
              <a:t>Biodegrade the Wast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982133" y="2057998"/>
            <a:ext cx="10634134" cy="3486083"/>
          </a:xfrm>
        </p:spPr>
        <p:txBody>
          <a:bodyPr wrap="square">
            <a:spAutoFit/>
          </a:bodyPr>
          <a:lstStyle/>
          <a:p>
            <a:r>
              <a:rPr lang="en-US" sz="2400" dirty="0">
                <a:latin typeface="+mn-lt"/>
              </a:rPr>
              <a:t>Biodegradation - "A process by which microbial organisms transform or alter (through metabolic or enzymatic action) the structure of chemicals introduced into the environment." – US EPA, 2009</a:t>
            </a:r>
          </a:p>
          <a:p>
            <a:pPr marL="0" indent="0">
              <a:buNone/>
            </a:pPr>
            <a:endParaRPr lang="en-US" sz="800" dirty="0">
              <a:latin typeface="+mn-lt"/>
            </a:endParaRPr>
          </a:p>
          <a:p>
            <a:r>
              <a:rPr lang="en-US" sz="2400" dirty="0">
                <a:latin typeface="+mn-lt"/>
              </a:rPr>
              <a:t>“Ready” biodegradability – remove 70% of dissolved organic carbon AND achieve 60% theoretical oxygen demand or CO</a:t>
            </a:r>
            <a:r>
              <a:rPr lang="en-US" sz="2400" baseline="-25000" dirty="0">
                <a:latin typeface="+mn-lt"/>
              </a:rPr>
              <a:t>2</a:t>
            </a:r>
            <a:r>
              <a:rPr lang="en-US" sz="2400" dirty="0">
                <a:latin typeface="+mn-lt"/>
              </a:rPr>
              <a:t> production within a 10-day window in a 28-day test. – OECD</a:t>
            </a:r>
          </a:p>
          <a:p>
            <a:pPr marL="0" indent="0">
              <a:buNone/>
            </a:pPr>
            <a:endParaRPr lang="en-US" sz="800" dirty="0">
              <a:latin typeface="+mn-lt"/>
            </a:endParaRPr>
          </a:p>
          <a:p>
            <a:r>
              <a:rPr lang="en-US" sz="2400" dirty="0">
                <a:latin typeface="+mn-lt"/>
              </a:rPr>
              <a:t>“Ultimate” biodegradability – 60-70% of organic carbon converted to CO</a:t>
            </a:r>
            <a:r>
              <a:rPr lang="en-US" sz="2400" baseline="-25000" dirty="0">
                <a:latin typeface="+mn-lt"/>
              </a:rPr>
              <a:t>2</a:t>
            </a:r>
            <a:r>
              <a:rPr lang="en-US" sz="2400" dirty="0">
                <a:latin typeface="+mn-lt"/>
              </a:rPr>
              <a:t> within 28 days.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56CCEFE-AD2D-4D8F-ABF3-9A9100E83998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445829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3186" y="231073"/>
            <a:ext cx="8685628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Aerobic Versus Anaerobic Diges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3445419"/>
            <a:ext cx="10515600" cy="1089529"/>
          </a:xfrm>
        </p:spPr>
        <p:txBody>
          <a:bodyPr>
            <a:spAutoFit/>
          </a:bodyPr>
          <a:lstStyle/>
          <a:p>
            <a:pPr marL="0" indent="0" algn="ctr">
              <a:buNone/>
            </a:pPr>
            <a:r>
              <a:rPr lang="en-US" sz="3600" dirty="0">
                <a:latin typeface="+mn-lt"/>
              </a:rPr>
              <a:t>Difference in oxygen supply, organism types, and products formed.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6734ADF-08A3-455E-80E8-52EAFA10ACC2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185178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6437" y="216887"/>
            <a:ext cx="4979126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Aerobic Diges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2839749"/>
            <a:ext cx="10515600" cy="2028248"/>
          </a:xfrm>
        </p:spPr>
        <p:txBody>
          <a:bodyPr>
            <a:spAutoFit/>
          </a:bodyPr>
          <a:lstStyle/>
          <a:p>
            <a:r>
              <a:rPr lang="en-US" dirty="0">
                <a:latin typeface="+mn-lt"/>
              </a:rPr>
              <a:t>Bacteria consume organic matter.</a:t>
            </a:r>
          </a:p>
          <a:p>
            <a:r>
              <a:rPr lang="en-US" dirty="0">
                <a:latin typeface="+mn-lt"/>
              </a:rPr>
              <a:t>Needs a constant supply of oxygen, pH adjustments, and mixing.</a:t>
            </a:r>
          </a:p>
          <a:p>
            <a:r>
              <a:rPr lang="en-US" dirty="0">
                <a:latin typeface="+mn-lt"/>
              </a:rPr>
              <a:t>Byproducts: heat, CO</a:t>
            </a:r>
            <a:r>
              <a:rPr lang="en-US" baseline="-25000" dirty="0">
                <a:latin typeface="+mn-lt"/>
              </a:rPr>
              <a:t>2</a:t>
            </a:r>
            <a:r>
              <a:rPr lang="en-US" dirty="0">
                <a:latin typeface="+mn-lt"/>
              </a:rPr>
              <a:t>, and H</a:t>
            </a:r>
            <a:r>
              <a:rPr lang="en-US" baseline="-25000" dirty="0">
                <a:latin typeface="+mn-lt"/>
              </a:rPr>
              <a:t>2</a:t>
            </a:r>
            <a:r>
              <a:rPr lang="en-US" dirty="0">
                <a:latin typeface="+mn-lt"/>
              </a:rPr>
              <a:t>O.</a:t>
            </a:r>
          </a:p>
          <a:p>
            <a:r>
              <a:rPr lang="en-US" dirty="0">
                <a:latin typeface="+mn-lt"/>
              </a:rPr>
              <a:t>Frequently used by water treatment plants or in composting.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CB58E6F-8881-415E-8F12-147D33ED162A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480242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05100" y="216537"/>
            <a:ext cx="6781800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Anaerobic Diges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60018" y="2824989"/>
            <a:ext cx="10099431" cy="1900007"/>
          </a:xfrm>
        </p:spPr>
        <p:txBody>
          <a:bodyPr wrap="square">
            <a:spAutoFit/>
          </a:bodyPr>
          <a:lstStyle/>
          <a:p>
            <a:r>
              <a:rPr lang="en-US" dirty="0">
                <a:latin typeface="+mn-lt"/>
              </a:rPr>
              <a:t>Bacteria consume organic matter in the absence of oxygen.</a:t>
            </a:r>
          </a:p>
          <a:p>
            <a:r>
              <a:rPr lang="en-US" dirty="0">
                <a:latin typeface="+mn-lt"/>
              </a:rPr>
              <a:t>Common in fermentation and landfill; produces biogas consisting of methane, ammonia, hydrogen sulfide.</a:t>
            </a:r>
          </a:p>
          <a:p>
            <a:r>
              <a:rPr lang="en-US" dirty="0">
                <a:latin typeface="+mn-lt"/>
              </a:rPr>
              <a:t>Biogas is considered a renewable energy</a:t>
            </a:r>
            <a:r>
              <a:rPr lang="en-US" dirty="0"/>
              <a:t>.</a:t>
            </a:r>
            <a:endParaRPr lang="en-US" baseline="-25000" dirty="0">
              <a:latin typeface="+mn-lt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78577D52-60BA-4B8D-90D7-3AA8DA7FDC19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0254114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3900" y="215148"/>
            <a:ext cx="8204200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Digestion versus Chemical Stru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3967240"/>
          </a:xfrm>
        </p:spPr>
        <p:txBody>
          <a:bodyPr>
            <a:spAutoFit/>
          </a:bodyPr>
          <a:lstStyle/>
          <a:p>
            <a:r>
              <a:rPr lang="en-US" dirty="0">
                <a:latin typeface="+mn-lt"/>
              </a:rPr>
              <a:t>Not all chemicals will biodegrade at the same rate (think plastic vs paper).</a:t>
            </a:r>
          </a:p>
          <a:p>
            <a:r>
              <a:rPr lang="en-US" dirty="0">
                <a:latin typeface="+mn-lt"/>
              </a:rPr>
              <a:t>The rate of biodegradation depends on the microorganism, but also a chemical structure of the molecule.</a:t>
            </a:r>
          </a:p>
          <a:p>
            <a:r>
              <a:rPr lang="en-US" dirty="0">
                <a:latin typeface="+mn-lt"/>
              </a:rPr>
              <a:t>Some parts of the molecule are known to be more biodegradable than the others.</a:t>
            </a:r>
          </a:p>
          <a:p>
            <a:r>
              <a:rPr lang="en-US" dirty="0">
                <a:latin typeface="+mn-lt"/>
              </a:rPr>
              <a:t>There is a publically available software that analyses the chemical structure and predicts whether the molecule will degrade slower (days) or slower (months, years).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72052EDB-F98E-4C27-B338-E7B67AA4DA0A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4386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E247B0-451E-C648-9CA8-58787A9C95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41742"/>
            <a:ext cx="11606561" cy="1325563"/>
          </a:xfrm>
        </p:spPr>
        <p:txBody>
          <a:bodyPr>
            <a:normAutofit/>
          </a:bodyPr>
          <a:lstStyle/>
          <a:p>
            <a:r>
              <a:rPr lang="en-US" dirty="0">
                <a:latin typeface="+mn-lt"/>
              </a:rPr>
              <a:t>Some chemical structures favor biodegradation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A92F7F6-C64D-5147-B306-E698D88A5A2B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D9A5121C-ECE1-5749-9521-D2DE082C4A48}"/>
              </a:ext>
            </a:extLst>
          </p:cNvPr>
          <p:cNvSpPr txBox="1"/>
          <p:nvPr/>
        </p:nvSpPr>
        <p:spPr>
          <a:xfrm>
            <a:off x="703758" y="1744933"/>
            <a:ext cx="2584105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Favors biodegradation</a:t>
            </a:r>
          </a:p>
          <a:p>
            <a:pPr marL="285750" indent="-285750">
              <a:buFontTx/>
              <a:buChar char="-"/>
            </a:pPr>
            <a:r>
              <a:rPr lang="en-US" dirty="0"/>
              <a:t>OH</a:t>
            </a:r>
          </a:p>
          <a:p>
            <a:pPr marL="285750" indent="-285750">
              <a:buFontTx/>
              <a:buChar char="-"/>
            </a:pPr>
            <a:r>
              <a:rPr lang="en-US" dirty="0"/>
              <a:t>Linear chains</a:t>
            </a:r>
          </a:p>
          <a:p>
            <a:pPr marL="285750" indent="-285750">
              <a:buFontTx/>
              <a:buChar char="-"/>
            </a:pPr>
            <a:r>
              <a:rPr lang="en-US" dirty="0" err="1"/>
              <a:t>Cyclo</a:t>
            </a:r>
            <a:r>
              <a:rPr lang="en-US" dirty="0"/>
              <a:t> </a:t>
            </a:r>
          </a:p>
          <a:p>
            <a:pPr marL="285750" indent="-285750">
              <a:buFontTx/>
              <a:buChar char="-"/>
            </a:pPr>
            <a:r>
              <a:rPr lang="en-US" dirty="0"/>
              <a:t>Esters</a:t>
            </a:r>
          </a:p>
          <a:p>
            <a:r>
              <a:rPr lang="en-US" dirty="0"/>
              <a:t>-    Low molecular weigh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39C4B22-EAB1-3C4D-A149-4266BAFCC5A9}"/>
              </a:ext>
            </a:extLst>
          </p:cNvPr>
          <p:cNvSpPr txBox="1"/>
          <p:nvPr/>
        </p:nvSpPr>
        <p:spPr>
          <a:xfrm>
            <a:off x="703758" y="3899369"/>
            <a:ext cx="4134353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Disfavors biodegradation</a:t>
            </a:r>
          </a:p>
          <a:p>
            <a:r>
              <a:rPr lang="en-US" dirty="0"/>
              <a:t>-    High molecular weight</a:t>
            </a:r>
          </a:p>
          <a:p>
            <a:pPr marL="285750" indent="-285750">
              <a:buFontTx/>
              <a:buChar char="-"/>
            </a:pPr>
            <a:r>
              <a:rPr lang="en-US" dirty="0"/>
              <a:t>Halogens  (F, Cl)</a:t>
            </a:r>
          </a:p>
          <a:p>
            <a:pPr marL="285750" indent="-285750">
              <a:buFontTx/>
              <a:buChar char="-"/>
            </a:pPr>
            <a:r>
              <a:rPr lang="en-US" dirty="0"/>
              <a:t>Tertiary carbon</a:t>
            </a:r>
          </a:p>
          <a:p>
            <a:pPr marL="285750" indent="-285750">
              <a:buFontTx/>
              <a:buChar char="-"/>
            </a:pPr>
            <a:r>
              <a:rPr lang="en-US" dirty="0"/>
              <a:t>Side chains and branching</a:t>
            </a:r>
          </a:p>
          <a:p>
            <a:pPr marL="285750" indent="-285750">
              <a:buFontTx/>
              <a:buChar char="-"/>
            </a:pPr>
            <a:r>
              <a:rPr lang="en-US" dirty="0"/>
              <a:t>Ethers</a:t>
            </a:r>
          </a:p>
          <a:p>
            <a:pPr marL="285750" indent="-285750">
              <a:buFontTx/>
              <a:buChar char="-"/>
            </a:pPr>
            <a:endParaRPr lang="en-US" dirty="0"/>
          </a:p>
        </p:txBody>
      </p:sp>
      <p:pic>
        <p:nvPicPr>
          <p:cNvPr id="14" name="Content Placeholder 3">
            <a:extLst>
              <a:ext uri="{FF2B5EF4-FFF2-40B4-BE49-F238E27FC236}">
                <a16:creationId xmlns:a16="http://schemas.microsoft.com/office/drawing/2014/main" id="{00D92631-93EC-EE40-A95B-C1295AC25DF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6944"/>
          <a:stretch/>
        </p:blipFill>
        <p:spPr>
          <a:xfrm>
            <a:off x="6065343" y="1756304"/>
            <a:ext cx="759081" cy="4721163"/>
          </a:xfr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D69B65E9-4907-E740-A2EF-0CAC73DD6B56}"/>
              </a:ext>
            </a:extLst>
          </p:cNvPr>
          <p:cNvSpPr txBox="1"/>
          <p:nvPr/>
        </p:nvSpPr>
        <p:spPr>
          <a:xfrm>
            <a:off x="7281733" y="1638224"/>
            <a:ext cx="189269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Poorly degraded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C8B5FFE-BAC8-1147-B651-90B6FE2F6BFD}"/>
              </a:ext>
            </a:extLst>
          </p:cNvPr>
          <p:cNvSpPr txBox="1"/>
          <p:nvPr/>
        </p:nvSpPr>
        <p:spPr>
          <a:xfrm>
            <a:off x="7234925" y="5530584"/>
            <a:ext cx="198631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Readily degraded</a:t>
            </a:r>
          </a:p>
        </p:txBody>
      </p:sp>
      <p:sp>
        <p:nvSpPr>
          <p:cNvPr id="3" name="Arrow: Down 2">
            <a:extLst>
              <a:ext uri="{FF2B5EF4-FFF2-40B4-BE49-F238E27FC236}">
                <a16:creationId xmlns:a16="http://schemas.microsoft.com/office/drawing/2014/main" id="{90F94C30-09EE-4E52-B78B-23E9FADD9434}"/>
              </a:ext>
            </a:extLst>
          </p:cNvPr>
          <p:cNvSpPr/>
          <p:nvPr/>
        </p:nvSpPr>
        <p:spPr>
          <a:xfrm>
            <a:off x="7957060" y="2013102"/>
            <a:ext cx="542041" cy="3478490"/>
          </a:xfrm>
          <a:prstGeom prst="downArrow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1299725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187275" y="163262"/>
            <a:ext cx="9817449" cy="707886"/>
          </a:xfrm>
        </p:spPr>
        <p:txBody>
          <a:bodyPr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4000" b="1" dirty="0">
                <a:latin typeface="+mn-lt"/>
              </a:rPr>
              <a:t>Predicting Biodegradation: EPA, </a:t>
            </a:r>
            <a:r>
              <a:rPr lang="en-US" sz="4000" b="1" dirty="0" err="1">
                <a:latin typeface="+mn-lt"/>
              </a:rPr>
              <a:t>EPISuite</a:t>
            </a:r>
            <a:endParaRPr lang="en-US" sz="4000" b="1" dirty="0">
              <a:latin typeface="+mn-lt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433466" y="6060509"/>
            <a:ext cx="7325066" cy="757130"/>
          </a:xfr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2400" dirty="0">
                <a:latin typeface="+mn-lt"/>
              </a:rPr>
              <a:t>EPI = Estimation Programs Interface http://www.epa.gov/oppt/exposure/pubs/episuitedl.htm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r="21132" b="35864"/>
          <a:stretch/>
        </p:blipFill>
        <p:spPr>
          <a:xfrm>
            <a:off x="1187275" y="1259522"/>
            <a:ext cx="9801628" cy="4800987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127B86F-A0C9-4BC4-9B02-47C4DD21460C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55622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52650" y="61914"/>
            <a:ext cx="7886700" cy="1089529"/>
          </a:xfrm>
        </p:spPr>
        <p:txBody>
          <a:bodyPr>
            <a:spAutoFit/>
          </a:bodyPr>
          <a:lstStyle/>
          <a:p>
            <a:pPr marL="355600" algn="ctr"/>
            <a:r>
              <a:rPr lang="en-US" sz="3600" b="1" dirty="0">
                <a:latin typeface="+mn-lt"/>
              </a:rPr>
              <a:t>Waste treatment pyramid: The 4 R’s:</a:t>
            </a:r>
            <a:br>
              <a:rPr lang="en-US" sz="3600" b="1" dirty="0">
                <a:latin typeface="+mn-lt"/>
              </a:rPr>
            </a:br>
            <a:r>
              <a:rPr lang="en-US" sz="3600" b="1" dirty="0">
                <a:latin typeface="+mn-lt"/>
              </a:rPr>
              <a:t>Reduce, Reuse, Recycle, Recover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1450710" y="2038124"/>
            <a:ext cx="7583949" cy="4200921"/>
            <a:chOff x="-80437" y="1544234"/>
            <a:chExt cx="7866129" cy="4279497"/>
          </a:xfrm>
        </p:grpSpPr>
        <p:graphicFrame>
          <p:nvGraphicFramePr>
            <p:cNvPr id="4" name="Diagram 3"/>
            <p:cNvGraphicFramePr/>
            <p:nvPr>
              <p:extLst>
                <p:ext uri="{D42A27DB-BD31-4B8C-83A1-F6EECF244321}">
                  <p14:modId xmlns:p14="http://schemas.microsoft.com/office/powerpoint/2010/main" val="2135205554"/>
                </p:ext>
              </p:extLst>
            </p:nvPr>
          </p:nvGraphicFramePr>
          <p:xfrm>
            <a:off x="1689692" y="1668231"/>
            <a:ext cx="6096000" cy="406400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sp>
          <p:nvSpPr>
            <p:cNvPr id="5" name="Up-Down Arrow 4"/>
            <p:cNvSpPr/>
            <p:nvPr/>
          </p:nvSpPr>
          <p:spPr>
            <a:xfrm>
              <a:off x="1048218" y="1668231"/>
              <a:ext cx="423746" cy="4064001"/>
            </a:xfrm>
            <a:prstGeom prst="upDownArrow">
              <a:avLst/>
            </a:prstGeom>
            <a:gradFill flip="none" rotWithShape="1">
              <a:gsLst>
                <a:gs pos="0">
                  <a:srgbClr val="C00000"/>
                </a:gs>
                <a:gs pos="45000">
                  <a:schemeClr val="accent4"/>
                </a:gs>
                <a:gs pos="100000">
                  <a:schemeClr val="accent6"/>
                </a:gs>
              </a:gsLst>
              <a:path path="circle">
                <a:fillToRect l="100000" t="100000"/>
              </a:path>
              <a:tileRect r="-100000" b="-100000"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alibri Regular" charset="0"/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-46521" y="1544234"/>
              <a:ext cx="1293542" cy="6584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latin typeface="Arial" panose="020B0604020202020204" pitchFamily="34" charset="0"/>
                  <a:cs typeface="Arial" panose="020B0604020202020204" pitchFamily="34" charset="0"/>
                </a:rPr>
                <a:t>most favored</a:t>
              </a: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-80437" y="5165311"/>
              <a:ext cx="1304693" cy="6584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latin typeface="Arial" panose="020B0604020202020204" pitchFamily="34" charset="0"/>
                  <a:cs typeface="Arial" panose="020B0604020202020204" pitchFamily="34" charset="0"/>
                </a:rPr>
                <a:t>least favored</a:t>
              </a:r>
            </a:p>
          </p:txBody>
        </p:sp>
      </p:grpSp>
      <p:sp>
        <p:nvSpPr>
          <p:cNvPr id="3" name="CaixaDeTexto 2">
            <a:extLst>
              <a:ext uri="{FF2B5EF4-FFF2-40B4-BE49-F238E27FC236}">
                <a16:creationId xmlns:a16="http://schemas.microsoft.com/office/drawing/2014/main" id="{CECEC876-D218-4046-8693-ECC3F804671D}"/>
              </a:ext>
            </a:extLst>
          </p:cNvPr>
          <p:cNvSpPr txBox="1"/>
          <p:nvPr/>
        </p:nvSpPr>
        <p:spPr>
          <a:xfrm>
            <a:off x="5280712" y="1674208"/>
            <a:ext cx="1630575" cy="430887"/>
          </a:xfrm>
          <a:prstGeom prst="rect">
            <a:avLst/>
          </a:prstGeom>
          <a:noFill/>
          <a:ln w="19050">
            <a:solidFill>
              <a:srgbClr val="70AD47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sz="2200" b="1" dirty="0">
                <a:latin typeface="Arial" panose="020B0604020202020204" pitchFamily="34" charset="0"/>
                <a:cs typeface="Arial" panose="020B0604020202020204" pitchFamily="34" charset="0"/>
              </a:rPr>
              <a:t>prevention</a:t>
            </a:r>
          </a:p>
        </p:txBody>
      </p:sp>
      <p:grpSp>
        <p:nvGrpSpPr>
          <p:cNvPr id="29" name="Agrupar 28">
            <a:extLst>
              <a:ext uri="{FF2B5EF4-FFF2-40B4-BE49-F238E27FC236}">
                <a16:creationId xmlns:a16="http://schemas.microsoft.com/office/drawing/2014/main" id="{DB3897E3-1384-411D-A562-3B4EBA7289CD}"/>
              </a:ext>
            </a:extLst>
          </p:cNvPr>
          <p:cNvGrpSpPr/>
          <p:nvPr/>
        </p:nvGrpSpPr>
        <p:grpSpPr>
          <a:xfrm>
            <a:off x="7600950" y="4082494"/>
            <a:ext cx="2834214" cy="1833386"/>
            <a:chOff x="5739043" y="3748666"/>
            <a:chExt cx="2834214" cy="1833386"/>
          </a:xfrm>
        </p:grpSpPr>
        <p:grpSp>
          <p:nvGrpSpPr>
            <p:cNvPr id="13" name="Group 12"/>
            <p:cNvGrpSpPr/>
            <p:nvPr/>
          </p:nvGrpSpPr>
          <p:grpSpPr>
            <a:xfrm>
              <a:off x="6950200" y="3748666"/>
              <a:ext cx="1623057" cy="1833386"/>
              <a:chOff x="7431350" y="3747193"/>
              <a:chExt cx="1749910" cy="1976676"/>
            </a:xfrm>
          </p:grpSpPr>
          <p:sp>
            <p:nvSpPr>
              <p:cNvPr id="8" name="Rectangle 7"/>
              <p:cNvSpPr/>
              <p:nvPr/>
            </p:nvSpPr>
            <p:spPr>
              <a:xfrm>
                <a:off x="7633681" y="4609710"/>
                <a:ext cx="1547579" cy="43138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2000" dirty="0"/>
                  <a:t>Incineration</a:t>
                </a:r>
              </a:p>
            </p:txBody>
          </p:sp>
          <p:sp>
            <p:nvSpPr>
              <p:cNvPr id="9" name="Rectangle 8"/>
              <p:cNvSpPr/>
              <p:nvPr/>
            </p:nvSpPr>
            <p:spPr>
              <a:xfrm>
                <a:off x="8166409" y="5292488"/>
                <a:ext cx="1014851" cy="43138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2000" dirty="0"/>
                  <a:t>Landfill</a:t>
                </a:r>
              </a:p>
            </p:txBody>
          </p:sp>
          <p:sp>
            <p:nvSpPr>
              <p:cNvPr id="10" name="Rectangle 9"/>
              <p:cNvSpPr/>
              <p:nvPr/>
            </p:nvSpPr>
            <p:spPr>
              <a:xfrm>
                <a:off x="7431350" y="3747193"/>
                <a:ext cx="1241534" cy="43138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2000" dirty="0"/>
                  <a:t>Recycling</a:t>
                </a:r>
              </a:p>
            </p:txBody>
          </p:sp>
          <p:sp>
            <p:nvSpPr>
              <p:cNvPr id="11" name="Rectangle 10"/>
              <p:cNvSpPr/>
              <p:nvPr/>
            </p:nvSpPr>
            <p:spPr>
              <a:xfrm>
                <a:off x="7431350" y="4127364"/>
                <a:ext cx="1540597" cy="43138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2000" dirty="0"/>
                  <a:t>Composting</a:t>
                </a:r>
              </a:p>
            </p:txBody>
          </p:sp>
        </p:grpSp>
        <p:sp>
          <p:nvSpPr>
            <p:cNvPr id="16" name="Chave Esquerda 15">
              <a:extLst>
                <a:ext uri="{FF2B5EF4-FFF2-40B4-BE49-F238E27FC236}">
                  <a16:creationId xmlns:a16="http://schemas.microsoft.com/office/drawing/2014/main" id="{F6F9EC33-29A3-4BFC-A99B-80F543DD274F}"/>
                </a:ext>
              </a:extLst>
            </p:cNvPr>
            <p:cNvSpPr/>
            <p:nvPr/>
          </p:nvSpPr>
          <p:spPr>
            <a:xfrm>
              <a:off x="6826288" y="3786740"/>
              <a:ext cx="173063" cy="657098"/>
            </a:xfrm>
            <a:prstGeom prst="leftBrace">
              <a:avLst>
                <a:gd name="adj1" fmla="val 79831"/>
                <a:gd name="adj2" fmla="val 50000"/>
              </a:avLst>
            </a:prstGeom>
            <a:ln w="19050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3" name="Conector reto 22">
              <a:extLst>
                <a:ext uri="{FF2B5EF4-FFF2-40B4-BE49-F238E27FC236}">
                  <a16:creationId xmlns:a16="http://schemas.microsoft.com/office/drawing/2014/main" id="{A1F6F73E-1702-49D1-8731-8026CB9CD6DB}"/>
                </a:ext>
              </a:extLst>
            </p:cNvPr>
            <p:cNvCxnSpPr>
              <a:cxnSpLocks/>
            </p:cNvCxnSpPr>
            <p:nvPr/>
          </p:nvCxnSpPr>
          <p:spPr>
            <a:xfrm>
              <a:off x="5739043" y="4101278"/>
              <a:ext cx="1013388" cy="13495"/>
            </a:xfrm>
            <a:prstGeom prst="line">
              <a:avLst/>
            </a:prstGeom>
            <a:ln w="19050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ector reto 24">
              <a:extLst>
                <a:ext uri="{FF2B5EF4-FFF2-40B4-BE49-F238E27FC236}">
                  <a16:creationId xmlns:a16="http://schemas.microsoft.com/office/drawing/2014/main" id="{01247C47-D9CA-42E2-A56A-D79D6C8C90EF}"/>
                </a:ext>
              </a:extLst>
            </p:cNvPr>
            <p:cNvCxnSpPr>
              <a:cxnSpLocks/>
            </p:cNvCxnSpPr>
            <p:nvPr/>
          </p:nvCxnSpPr>
          <p:spPr>
            <a:xfrm>
              <a:off x="6184106" y="4756150"/>
              <a:ext cx="1029140" cy="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Conector reto 25">
              <a:extLst>
                <a:ext uri="{FF2B5EF4-FFF2-40B4-BE49-F238E27FC236}">
                  <a16:creationId xmlns:a16="http://schemas.microsoft.com/office/drawing/2014/main" id="{E2BBEC2F-AC48-4EBA-BE47-68B2FB579547}"/>
                </a:ext>
              </a:extLst>
            </p:cNvPr>
            <p:cNvCxnSpPr>
              <a:cxnSpLocks/>
            </p:cNvCxnSpPr>
            <p:nvPr/>
          </p:nvCxnSpPr>
          <p:spPr>
            <a:xfrm>
              <a:off x="6752431" y="5381799"/>
              <a:ext cx="927894" cy="0"/>
            </a:xfrm>
            <a:prstGeom prst="line">
              <a:avLst/>
            </a:prstGeom>
            <a:ln w="190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77E1828-2328-4252-B5FB-EEE730641B22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0478E00E-D27E-406C-9755-E9EAC882CD74}"/>
              </a:ext>
            </a:extLst>
          </p:cNvPr>
          <p:cNvSpPr txBox="1"/>
          <p:nvPr/>
        </p:nvSpPr>
        <p:spPr>
          <a:xfrm>
            <a:off x="50695" y="1211438"/>
            <a:ext cx="453073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rPr>
              <a:t>It is better to </a:t>
            </a: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rPr>
              <a:t>prevent</a:t>
            </a: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rPr>
              <a:t> waste than to </a:t>
            </a: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rPr>
              <a:t>treat or clean up</a:t>
            </a:r>
            <a:r>
              <a: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rPr>
              <a:t>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970779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6025" y="124300"/>
            <a:ext cx="7219950" cy="990015"/>
          </a:xfrm>
        </p:spPr>
        <p:txBody>
          <a:bodyPr>
            <a:spAutoFit/>
          </a:bodyPr>
          <a:lstStyle/>
          <a:p>
            <a:pPr algn="ctr">
              <a:lnSpc>
                <a:spcPts val="3500"/>
              </a:lnSpc>
            </a:pPr>
            <a:r>
              <a:rPr lang="en-US" sz="3600" b="1" dirty="0">
                <a:latin typeface="+mn-lt"/>
              </a:rPr>
              <a:t>BIOWIN Models Based on Molecular Fragment Contribu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7839" y="1236318"/>
            <a:ext cx="10515600" cy="1171090"/>
          </a:xfrm>
        </p:spPr>
        <p:txBody>
          <a:bodyPr>
            <a:spAutoFit/>
          </a:bodyPr>
          <a:lstStyle/>
          <a:p>
            <a:r>
              <a:rPr lang="en-US" dirty="0"/>
              <a:t>A</a:t>
            </a:r>
            <a:r>
              <a:rPr lang="en-US" dirty="0">
                <a:latin typeface="+mn-lt"/>
              </a:rPr>
              <a:t>erobic degradation models</a:t>
            </a:r>
          </a:p>
          <a:p>
            <a:pPr marL="457200" lvl="1" indent="0">
              <a:buNone/>
            </a:pPr>
            <a:endParaRPr lang="en-US" sz="800" dirty="0">
              <a:latin typeface="+mn-lt"/>
            </a:endParaRPr>
          </a:p>
          <a:p>
            <a:r>
              <a:rPr lang="en-US" dirty="0"/>
              <a:t>A</a:t>
            </a:r>
            <a:r>
              <a:rPr lang="en-US" dirty="0">
                <a:latin typeface="+mn-lt"/>
              </a:rPr>
              <a:t>naerobic degradation model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097CFC1-8F03-47A1-8360-986CDC186F92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954C0879-D1D9-B942-AC13-C1966827BA9D}"/>
              </a:ext>
            </a:extLst>
          </p:cNvPr>
          <p:cNvSpPr/>
          <p:nvPr/>
        </p:nvSpPr>
        <p:spPr>
          <a:xfrm>
            <a:off x="1252654" y="4710490"/>
            <a:ext cx="9084526" cy="1477328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The program analyses the chemical structure of each molecule within the group, and assesses its biodegradation potential based on the molecule fragment and functional groups. The result is presented as a probability for degradation. If the number is greater or equal to 0.5, then the molecule will degrade faster. In contrast, values less than 0.5 indicate persistence and low biodegradation potential.</a:t>
            </a:r>
            <a:r>
              <a:rPr lang="en-US" dirty="0"/>
              <a:t>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6C6DBB2-95E5-3843-A988-166D82FF838C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2132671" y="2828986"/>
            <a:ext cx="7725936" cy="1679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142504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>
            <a:extLst>
              <a:ext uri="{FF2B5EF4-FFF2-40B4-BE49-F238E27FC236}">
                <a16:creationId xmlns:a16="http://schemas.microsoft.com/office/drawing/2014/main" id="{1F771951-1113-47D5-8A3B-CB4E45760D8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53779254"/>
              </p:ext>
            </p:extLst>
          </p:nvPr>
        </p:nvGraphicFramePr>
        <p:xfrm>
          <a:off x="1487331" y="1319563"/>
          <a:ext cx="1909763" cy="4940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6" name="CS ChemDraw Drawing" r:id="rId4" imgW="2565400" imgH="6604000" progId="ChemDraw.Document.6.0">
                  <p:embed/>
                </p:oleObj>
              </mc:Choice>
              <mc:Fallback>
                <p:oleObj name="CS ChemDraw Drawing" r:id="rId4" imgW="2565400" imgH="6604000" progId="ChemDraw.Document.6.0">
                  <p:embed/>
                  <p:pic>
                    <p:nvPicPr>
                      <p:cNvPr id="4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7331" y="1319563"/>
                        <a:ext cx="1909763" cy="49403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5492393" y="1507196"/>
            <a:ext cx="504021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Increasing number of rings &amp; molecular weight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74357" y="1337919"/>
            <a:ext cx="3593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74357" y="2181374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. 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74357" y="3124681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3. 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077250" y="4172765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. 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077250" y="5371872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5. 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7314842" y="4109077"/>
            <a:ext cx="12314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&gt;2&gt;4&gt;3&gt;5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5631060" y="3895766"/>
            <a:ext cx="15675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st biodegradable (aerobic)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827331" y="3888742"/>
            <a:ext cx="15794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east biodegradable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5628121" y="2366640"/>
            <a:ext cx="237295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Favors biodegradation</a:t>
            </a:r>
          </a:p>
          <a:p>
            <a:r>
              <a:rPr lang="en-US" dirty="0"/>
              <a:t>- OH</a:t>
            </a:r>
          </a:p>
          <a:p>
            <a:r>
              <a:rPr lang="en-US" dirty="0"/>
              <a:t>- Low molecular weight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7998173" y="2366640"/>
            <a:ext cx="261022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Disfavors biodegradation</a:t>
            </a:r>
          </a:p>
          <a:p>
            <a:r>
              <a:rPr lang="en-US" dirty="0"/>
              <a:t>- High molecular weight</a:t>
            </a:r>
          </a:p>
          <a:p>
            <a:r>
              <a:rPr lang="en-US" dirty="0"/>
              <a:t>- Cl</a:t>
            </a:r>
          </a:p>
        </p:txBody>
      </p:sp>
      <p:sp>
        <p:nvSpPr>
          <p:cNvPr id="25" name="Rounded Rectangle 24"/>
          <p:cNvSpPr/>
          <p:nvPr/>
        </p:nvSpPr>
        <p:spPr>
          <a:xfrm>
            <a:off x="5594444" y="2281567"/>
            <a:ext cx="4938162" cy="1167468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/>
          <p:cNvSpPr txBox="1"/>
          <p:nvPr/>
        </p:nvSpPr>
        <p:spPr>
          <a:xfrm>
            <a:off x="7329062" y="5371872"/>
            <a:ext cx="12314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&gt;1&gt;2&gt;3&gt;5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629085" y="5141898"/>
            <a:ext cx="15675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st biodegradable (anaerobic)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8825356" y="5141898"/>
            <a:ext cx="15794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east biodegradabl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4987CB9-7E41-493A-864C-7F2DB4B7675B}"/>
              </a:ext>
            </a:extLst>
          </p:cNvPr>
          <p:cNvSpPr txBox="1"/>
          <p:nvPr/>
        </p:nvSpPr>
        <p:spPr>
          <a:xfrm>
            <a:off x="1021435" y="586432"/>
            <a:ext cx="209974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/>
              <a:t>Ring structures</a:t>
            </a:r>
          </a:p>
        </p:txBody>
      </p:sp>
    </p:spTree>
    <p:extLst>
      <p:ext uri="{BB962C8B-B14F-4D97-AF65-F5344CB8AC3E}">
        <p14:creationId xmlns:p14="http://schemas.microsoft.com/office/powerpoint/2010/main" val="1650915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25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9" grpId="0"/>
      <p:bldP spid="21" grpId="0"/>
      <p:bldP spid="22" grpId="0"/>
      <p:bldP spid="23" grpId="0"/>
      <p:bldP spid="24" grpId="0"/>
      <p:bldP spid="25" grpId="0" animBg="1"/>
      <p:bldP spid="18" grpId="0"/>
      <p:bldP spid="20" grpId="0"/>
      <p:bldP spid="26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>
            <a:extLst>
              <a:ext uri="{FF2B5EF4-FFF2-40B4-BE49-F238E27FC236}">
                <a16:creationId xmlns:a16="http://schemas.microsoft.com/office/drawing/2014/main" id="{D59472A9-05B9-4251-A348-D17EF04F130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8358073"/>
              </p:ext>
            </p:extLst>
          </p:nvPr>
        </p:nvGraphicFramePr>
        <p:xfrm>
          <a:off x="1489541" y="1335702"/>
          <a:ext cx="1603375" cy="4818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4" name="CS ChemDraw Drawing" r:id="rId3" imgW="2146300" imgH="6438900" progId="ChemDraw.Document.6.0">
                  <p:embed/>
                </p:oleObj>
              </mc:Choice>
              <mc:Fallback>
                <p:oleObj name="CS ChemDraw Drawing" r:id="rId3" imgW="2146300" imgH="6438900" progId="ChemDraw.Document.6.0">
                  <p:embed/>
                  <p:pic>
                    <p:nvPicPr>
                      <p:cNvPr id="2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9541" y="1335702"/>
                        <a:ext cx="1603375" cy="4818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1019927" y="1397290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.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019927" y="2214749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.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019927" y="3058684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3.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019927" y="4060809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.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019927" y="4790282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5.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019927" y="5528946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6.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559506" y="1519126"/>
            <a:ext cx="514115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Bisphenol A derivatives: Halogenated and BPS</a:t>
            </a:r>
          </a:p>
        </p:txBody>
      </p:sp>
      <p:sp>
        <p:nvSpPr>
          <p:cNvPr id="11" name="Left Bracket 10"/>
          <p:cNvSpPr/>
          <p:nvPr/>
        </p:nvSpPr>
        <p:spPr>
          <a:xfrm flipH="1">
            <a:off x="3196966" y="2044627"/>
            <a:ext cx="463138" cy="3265714"/>
          </a:xfrm>
          <a:prstGeom prst="leftBracke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3660104" y="3058684"/>
            <a:ext cx="197130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oor biodegradation due to high MW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979915" y="2299052"/>
            <a:ext cx="268313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Disfavors biodegradation</a:t>
            </a:r>
          </a:p>
          <a:p>
            <a:r>
              <a:rPr lang="en-US" dirty="0"/>
              <a:t>- High molecular weight</a:t>
            </a:r>
          </a:p>
          <a:p>
            <a:pPr marL="285750" indent="-285750">
              <a:buFontTx/>
              <a:buChar char="-"/>
            </a:pPr>
            <a:r>
              <a:rPr lang="en-US" dirty="0"/>
              <a:t>Tertiary carbon </a:t>
            </a:r>
          </a:p>
          <a:p>
            <a:pPr marL="285750" indent="-285750">
              <a:buFontTx/>
              <a:buChar char="-"/>
            </a:pPr>
            <a:r>
              <a:rPr lang="en-US" dirty="0"/>
              <a:t>Halogens, but Cl better than F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559506" y="2299052"/>
            <a:ext cx="237295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Favors biodegradation</a:t>
            </a:r>
          </a:p>
          <a:p>
            <a:r>
              <a:rPr lang="en-US" dirty="0"/>
              <a:t>- Low molecular weight</a:t>
            </a:r>
          </a:p>
        </p:txBody>
      </p:sp>
      <p:sp>
        <p:nvSpPr>
          <p:cNvPr id="15" name="Rounded Rectangle 14"/>
          <p:cNvSpPr/>
          <p:nvPr/>
        </p:nvSpPr>
        <p:spPr>
          <a:xfrm>
            <a:off x="5559506" y="2299052"/>
            <a:ext cx="5106310" cy="1477328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/>
          <p:cNvSpPr txBox="1"/>
          <p:nvPr/>
        </p:nvSpPr>
        <p:spPr>
          <a:xfrm>
            <a:off x="7567175" y="4349740"/>
            <a:ext cx="1463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&gt;6&gt;3&gt;4&gt;2&gt;5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021889" y="4066607"/>
            <a:ext cx="15675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st biodegradable (aerobic)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9031037" y="4066607"/>
            <a:ext cx="15794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east biodegradabl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7567175" y="5561814"/>
            <a:ext cx="1463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6&gt;2&gt;4=5&gt;3&gt;1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6021889" y="5292432"/>
            <a:ext cx="15675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st biodegradable (anaerobic)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9042745" y="5292432"/>
            <a:ext cx="15794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east biodegradabl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DCF3DC7-B45A-4009-A795-FE0C8B85ABFC}"/>
              </a:ext>
            </a:extLst>
          </p:cNvPr>
          <p:cNvSpPr txBox="1"/>
          <p:nvPr/>
        </p:nvSpPr>
        <p:spPr>
          <a:xfrm>
            <a:off x="977384" y="575484"/>
            <a:ext cx="317202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/>
              <a:t>Bisphenol A derivatives</a:t>
            </a:r>
          </a:p>
        </p:txBody>
      </p:sp>
    </p:spTree>
    <p:extLst>
      <p:ext uri="{BB962C8B-B14F-4D97-AF65-F5344CB8AC3E}">
        <p14:creationId xmlns:p14="http://schemas.microsoft.com/office/powerpoint/2010/main" val="1456466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2" grpId="0"/>
      <p:bldP spid="13" grpId="0"/>
      <p:bldP spid="14" grpId="0"/>
      <p:bldP spid="15" grpId="0" animBg="1"/>
      <p:bldP spid="16" grpId="0"/>
      <p:bldP spid="17" grpId="0"/>
      <p:bldP spid="18" grpId="0"/>
      <p:bldP spid="19" grpId="0"/>
      <p:bldP spid="20" grpId="0"/>
      <p:bldP spid="21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934744" y="1298154"/>
            <a:ext cx="3593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1.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970370" y="2414435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.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970370" y="3411962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3.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70370" y="4540118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.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982245" y="5537645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5.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898208" y="682601"/>
            <a:ext cx="6263264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Different plasticizers </a:t>
            </a:r>
          </a:p>
          <a:p>
            <a:endParaRPr lang="en-US" dirty="0"/>
          </a:p>
          <a:p>
            <a:r>
              <a:rPr lang="en-US" dirty="0"/>
              <a:t>Linear and branched;</a:t>
            </a:r>
          </a:p>
          <a:p>
            <a:r>
              <a:rPr lang="en-US" dirty="0"/>
              <a:t>Two green plasticizers: Reduced ring to </a:t>
            </a:r>
            <a:r>
              <a:rPr lang="en-US" dirty="0" err="1"/>
              <a:t>cyclo</a:t>
            </a:r>
            <a:r>
              <a:rPr lang="en-US" dirty="0"/>
              <a:t> and isosorbide ring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851645" y="2414435"/>
            <a:ext cx="2790777" cy="120032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b="1" dirty="0"/>
              <a:t>Disfavors biodegradation</a:t>
            </a:r>
          </a:p>
          <a:p>
            <a:pPr marL="285750" indent="-285750">
              <a:buFontTx/>
              <a:buChar char="-"/>
            </a:pPr>
            <a:r>
              <a:rPr lang="en-US" dirty="0"/>
              <a:t>Side chains and branching</a:t>
            </a:r>
          </a:p>
          <a:p>
            <a:pPr marL="285750" indent="-285750">
              <a:buFontTx/>
              <a:buChar char="-"/>
            </a:pPr>
            <a:r>
              <a:rPr lang="en-US" dirty="0"/>
              <a:t>Ethers</a:t>
            </a:r>
          </a:p>
          <a:p>
            <a:pPr marL="285750" indent="-285750">
              <a:buFontTx/>
              <a:buChar char="-"/>
            </a:pPr>
            <a:r>
              <a:rPr lang="en-US" dirty="0" err="1"/>
              <a:t>arenes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5467102" y="2414435"/>
            <a:ext cx="2307811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Favors biodegradation</a:t>
            </a:r>
          </a:p>
          <a:p>
            <a:pPr marL="285750" indent="-285750">
              <a:buFontTx/>
              <a:buChar char="-"/>
            </a:pPr>
            <a:r>
              <a:rPr lang="en-US" dirty="0"/>
              <a:t>Linear chains</a:t>
            </a:r>
          </a:p>
          <a:p>
            <a:pPr marL="285750" indent="-285750">
              <a:buFontTx/>
              <a:buChar char="-"/>
            </a:pPr>
            <a:r>
              <a:rPr lang="en-US" dirty="0"/>
              <a:t>Saturated </a:t>
            </a:r>
            <a:r>
              <a:rPr lang="en-US" dirty="0" err="1"/>
              <a:t>cyclo</a:t>
            </a:r>
            <a:r>
              <a:rPr lang="en-US" dirty="0"/>
              <a:t> </a:t>
            </a:r>
          </a:p>
          <a:p>
            <a:pPr marL="285750" indent="-285750">
              <a:buFontTx/>
              <a:buChar char="-"/>
            </a:pPr>
            <a:r>
              <a:rPr lang="en-US" dirty="0"/>
              <a:t>Esters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467102" y="2295091"/>
            <a:ext cx="5125476" cy="140327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7331035" y="4417416"/>
            <a:ext cx="12314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&gt;4&gt;2&gt;3&gt;5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761515" y="4145149"/>
            <a:ext cx="15675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st biodegradable (aerobic)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827329" y="4145149"/>
            <a:ext cx="15794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east biodegradabl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7331035" y="5537645"/>
            <a:ext cx="12314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&gt;5&gt;2&gt;4&gt;3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761515" y="5271557"/>
            <a:ext cx="15675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st biodegradable (anaerobic)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8825354" y="5271557"/>
            <a:ext cx="15794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east biodegradab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71F73DE-9236-4274-8FA3-E27C820701C4}"/>
              </a:ext>
            </a:extLst>
          </p:cNvPr>
          <p:cNvSpPr txBox="1"/>
          <p:nvPr/>
        </p:nvSpPr>
        <p:spPr>
          <a:xfrm>
            <a:off x="1280125" y="586432"/>
            <a:ext cx="158235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/>
              <a:t>Plasticizers</a:t>
            </a:r>
          </a:p>
        </p:txBody>
      </p:sp>
      <p:graphicFrame>
        <p:nvGraphicFramePr>
          <p:cNvPr id="20" name="Object 19">
            <a:extLst>
              <a:ext uri="{FF2B5EF4-FFF2-40B4-BE49-F238E27FC236}">
                <a16:creationId xmlns:a16="http://schemas.microsoft.com/office/drawing/2014/main" id="{2F510A43-46F1-436D-9D8A-FCE6363F826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94371431"/>
              </p:ext>
            </p:extLst>
          </p:nvPr>
        </p:nvGraphicFramePr>
        <p:xfrm>
          <a:off x="1489541" y="1075124"/>
          <a:ext cx="2432050" cy="55657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3" name="CS ChemDraw Drawing" r:id="rId3" imgW="3251200" imgH="7442200" progId="ChemDraw.Document.6.0">
                  <p:embed/>
                </p:oleObj>
              </mc:Choice>
              <mc:Fallback>
                <p:oleObj name="CS ChemDraw Drawing" r:id="rId3" imgW="3251200" imgH="7442200" progId="ChemDraw.Document.6.0">
                  <p:embed/>
                  <p:pic>
                    <p:nvPicPr>
                      <p:cNvPr id="2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9541" y="1075124"/>
                        <a:ext cx="2432050" cy="5565775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78924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2" grpId="0" animBg="1"/>
      <p:bldP spid="13" grpId="0"/>
      <p:bldP spid="14" grpId="0"/>
      <p:bldP spid="15" grpId="0"/>
      <p:bldP spid="16" grpId="0"/>
      <p:bldP spid="17" grpId="0"/>
      <p:bldP spid="18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336358" y="1541826"/>
            <a:ext cx="3418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dirty="0"/>
              <a:t>Explosives (TNT, nitroglycerine)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046551" y="1321710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.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046551" y="2441227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.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046551" y="3516479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3.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046551" y="4638162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.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044187" y="5676144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5.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459450" y="2372896"/>
            <a:ext cx="266034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Favors biodegradation</a:t>
            </a:r>
          </a:p>
          <a:p>
            <a:pPr marL="285750" indent="-285750">
              <a:buFontTx/>
              <a:buChar char="-"/>
            </a:pPr>
            <a:r>
              <a:rPr lang="en-US" dirty="0"/>
              <a:t>Small molecular weight</a:t>
            </a:r>
          </a:p>
          <a:p>
            <a:pPr marL="285750" indent="-285750">
              <a:buFontTx/>
              <a:buChar char="-"/>
            </a:pPr>
            <a:r>
              <a:rPr lang="en-US" dirty="0"/>
              <a:t>OH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8066334" y="2368523"/>
            <a:ext cx="256556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Disfavors biodegradation</a:t>
            </a:r>
          </a:p>
          <a:p>
            <a:pPr marL="285750" indent="-285750">
              <a:buFontTx/>
              <a:buChar char="-"/>
            </a:pPr>
            <a:r>
              <a:rPr lang="en-US" dirty="0"/>
              <a:t>CH</a:t>
            </a:r>
            <a:r>
              <a:rPr lang="en-US" baseline="-25000" dirty="0"/>
              <a:t>3</a:t>
            </a:r>
          </a:p>
          <a:p>
            <a:pPr marL="285750" indent="-285750">
              <a:buFontTx/>
              <a:buChar char="-"/>
            </a:pPr>
            <a:r>
              <a:rPr lang="en-US" dirty="0"/>
              <a:t>Large MW</a:t>
            </a:r>
          </a:p>
          <a:p>
            <a:pPr marL="285750" indent="-285750">
              <a:buFontTx/>
              <a:buChar char="-"/>
            </a:pPr>
            <a:r>
              <a:rPr lang="en-US" dirty="0"/>
              <a:t>NNO</a:t>
            </a:r>
            <a:r>
              <a:rPr lang="en-US" baseline="-25000" dirty="0"/>
              <a:t>2</a:t>
            </a:r>
            <a:r>
              <a:rPr lang="en-US" dirty="0"/>
              <a:t>CH</a:t>
            </a:r>
            <a:r>
              <a:rPr lang="en-US" baseline="-25000" dirty="0"/>
              <a:t>3</a:t>
            </a:r>
          </a:p>
        </p:txBody>
      </p:sp>
      <p:sp>
        <p:nvSpPr>
          <p:cNvPr id="12" name="Left Bracket 11"/>
          <p:cNvSpPr/>
          <p:nvPr/>
        </p:nvSpPr>
        <p:spPr>
          <a:xfrm flipH="1">
            <a:off x="3021779" y="4836402"/>
            <a:ext cx="463138" cy="1402485"/>
          </a:xfrm>
          <a:prstGeom prst="leftBracke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3484917" y="5214479"/>
            <a:ext cx="204255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egrades faster due to small MW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5459450" y="2284968"/>
            <a:ext cx="5172446" cy="1513182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7593507" y="4422148"/>
            <a:ext cx="12314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&gt;5&gt;1=2=3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6084575" y="4117928"/>
            <a:ext cx="15675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st biodegradable (aerobic)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8824934" y="4178428"/>
            <a:ext cx="15794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east biodegradabl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7593508" y="5519233"/>
            <a:ext cx="12314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&gt;5&gt;2&gt;1&gt;3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084575" y="5214479"/>
            <a:ext cx="15675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st biodegradable (anaerobic)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824935" y="5242234"/>
            <a:ext cx="15794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east biodegradabl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F91DCF8-3250-4120-B3AC-EAC649D67217}"/>
              </a:ext>
            </a:extLst>
          </p:cNvPr>
          <p:cNvSpPr txBox="1"/>
          <p:nvPr/>
        </p:nvSpPr>
        <p:spPr>
          <a:xfrm>
            <a:off x="1319977" y="586432"/>
            <a:ext cx="150265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/>
              <a:t>Explosives</a:t>
            </a:r>
          </a:p>
        </p:txBody>
      </p:sp>
      <p:graphicFrame>
        <p:nvGraphicFramePr>
          <p:cNvPr id="22" name="Object 21">
            <a:extLst>
              <a:ext uri="{FF2B5EF4-FFF2-40B4-BE49-F238E27FC236}">
                <a16:creationId xmlns:a16="http://schemas.microsoft.com/office/drawing/2014/main" id="{5F4F4DA2-D7EE-470B-949D-3B66AD376B6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6867632"/>
              </p:ext>
            </p:extLst>
          </p:nvPr>
        </p:nvGraphicFramePr>
        <p:xfrm>
          <a:off x="1489541" y="1178364"/>
          <a:ext cx="1501775" cy="5430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1" name="CS ChemDraw Drawing" r:id="rId3" imgW="2019300" imgH="7251700" progId="ChemDraw.Document.6.0">
                  <p:embed/>
                </p:oleObj>
              </mc:Choice>
              <mc:Fallback>
                <p:oleObj name="CS ChemDraw Drawing" r:id="rId3" imgW="2019300" imgH="7251700" progId="ChemDraw.Document.6.0">
                  <p:embed/>
                  <p:pic>
                    <p:nvPicPr>
                      <p:cNvPr id="2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9541" y="1178364"/>
                        <a:ext cx="1501775" cy="543083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454142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2" grpId="0" animBg="1"/>
      <p:bldP spid="13" grpId="0"/>
      <p:bldP spid="14" grpId="0" animBg="1"/>
      <p:bldP spid="15" grpId="0"/>
      <p:bldP spid="16" grpId="0"/>
      <p:bldP spid="17" grpId="0"/>
      <p:bldP spid="18" grpId="0"/>
      <p:bldP spid="19" grpId="0"/>
      <p:bldP spid="20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110920" y="162854"/>
            <a:ext cx="597016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Design for Biodegradation?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923925" y="2183113"/>
            <a:ext cx="103441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/>
              <a:t>Since we know the chemical moieties, functional groups, and types of bonds which make the molecule biodegradable, can we build-in biodegradability into chemical products?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531284" y="3999141"/>
            <a:ext cx="126278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dirty="0">
                <a:solidFill>
                  <a:srgbClr val="00B050"/>
                </a:solidFill>
              </a:rPr>
              <a:t>YES!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43644EF-8334-4DA5-82C5-77F03E3BE910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39445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805501" y="159977"/>
            <a:ext cx="458099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Example: Plasticizers</a:t>
            </a:r>
          </a:p>
        </p:txBody>
      </p:sp>
      <p:pic>
        <p:nvPicPr>
          <p:cNvPr id="4" name="Picture 5" descr="nicell1.jp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4186"/>
          <a:stretch/>
        </p:blipFill>
        <p:spPr bwMode="auto">
          <a:xfrm>
            <a:off x="413657" y="2432843"/>
            <a:ext cx="3707812" cy="12156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7"/>
          <p:cNvSpPr txBox="1">
            <a:spLocks noChangeArrowheads="1"/>
          </p:cNvSpPr>
          <p:nvPr/>
        </p:nvSpPr>
        <p:spPr bwMode="auto">
          <a:xfrm>
            <a:off x="4964210" y="1875814"/>
            <a:ext cx="1901738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/>
            <a:r>
              <a:rPr lang="en-US" sz="1600" dirty="0">
                <a:solidFill>
                  <a:srgbClr val="FF0000"/>
                </a:solidFill>
              </a:rPr>
              <a:t>kills bacteria,</a:t>
            </a:r>
          </a:p>
          <a:p>
            <a:pPr algn="ctr"/>
            <a:r>
              <a:rPr lang="en-US" sz="1600" dirty="0">
                <a:solidFill>
                  <a:srgbClr val="FF0000"/>
                </a:solidFill>
              </a:rPr>
              <a:t>biodegradation halts</a:t>
            </a:r>
          </a:p>
        </p:txBody>
      </p:sp>
      <p:sp>
        <p:nvSpPr>
          <p:cNvPr id="9" name="TextBox 10"/>
          <p:cNvSpPr txBox="1">
            <a:spLocks noChangeArrowheads="1"/>
          </p:cNvSpPr>
          <p:nvPr/>
        </p:nvSpPr>
        <p:spPr bwMode="auto">
          <a:xfrm>
            <a:off x="3828254" y="5239620"/>
            <a:ext cx="3582987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en-US" dirty="0">
                <a:solidFill>
                  <a:srgbClr val="00B050"/>
                </a:solidFill>
              </a:rPr>
              <a:t>complete degradation to CO</a:t>
            </a:r>
            <a:r>
              <a:rPr lang="en-US" baseline="-25000" dirty="0">
                <a:solidFill>
                  <a:srgbClr val="00B050"/>
                </a:solidFill>
              </a:rPr>
              <a:t>2</a:t>
            </a:r>
            <a:r>
              <a:rPr lang="en-US" dirty="0">
                <a:solidFill>
                  <a:srgbClr val="00B050"/>
                </a:solidFill>
              </a:rPr>
              <a:t> + H</a:t>
            </a:r>
            <a:r>
              <a:rPr lang="en-US" baseline="-25000" dirty="0">
                <a:solidFill>
                  <a:srgbClr val="00B050"/>
                </a:solidFill>
              </a:rPr>
              <a:t>2</a:t>
            </a:r>
            <a:r>
              <a:rPr lang="en-US" dirty="0">
                <a:solidFill>
                  <a:srgbClr val="00B050"/>
                </a:solidFill>
              </a:rPr>
              <a:t>O</a:t>
            </a:r>
          </a:p>
        </p:txBody>
      </p:sp>
      <p:pic>
        <p:nvPicPr>
          <p:cNvPr id="11" name="Picture 5" descr="nicell1.jp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673"/>
          <a:stretch/>
        </p:blipFill>
        <p:spPr bwMode="auto">
          <a:xfrm>
            <a:off x="4120241" y="2395877"/>
            <a:ext cx="4013327" cy="12156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8" descr="nicell2.tif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4201"/>
          <a:stretch/>
        </p:blipFill>
        <p:spPr bwMode="auto">
          <a:xfrm>
            <a:off x="399143" y="4291694"/>
            <a:ext cx="2593796" cy="12156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8" descr="nicell2.tif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431" b="26077"/>
          <a:stretch/>
        </p:blipFill>
        <p:spPr bwMode="auto">
          <a:xfrm>
            <a:off x="3335960" y="4539994"/>
            <a:ext cx="2741630" cy="6996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8" descr="nicell2.tif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737"/>
          <a:stretch/>
        </p:blipFill>
        <p:spPr bwMode="auto">
          <a:xfrm>
            <a:off x="5373005" y="4544941"/>
            <a:ext cx="3049859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5" name="Straight Arrow Connector 14"/>
          <p:cNvCxnSpPr/>
          <p:nvPr/>
        </p:nvCxnSpPr>
        <p:spPr>
          <a:xfrm>
            <a:off x="3889241" y="2972520"/>
            <a:ext cx="618437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3089962" y="4751068"/>
            <a:ext cx="618437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5619748" y="4751068"/>
            <a:ext cx="618437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7556391" y="1975757"/>
            <a:ext cx="4283761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lasticizers are additives in plastic applications. Almost 90% of </a:t>
            </a:r>
            <a:r>
              <a:rPr lang="en-US" b="1" dirty="0"/>
              <a:t>plasticizers</a:t>
            </a:r>
            <a:r>
              <a:rPr lang="en-US" dirty="0"/>
              <a:t> are used in PVC, giving this material improved flexibility and durability.</a:t>
            </a:r>
          </a:p>
          <a:p>
            <a:endParaRPr lang="en-US" dirty="0"/>
          </a:p>
          <a:p>
            <a:r>
              <a:rPr lang="en-US" dirty="0"/>
              <a:t>Di-propylene glycol </a:t>
            </a:r>
            <a:r>
              <a:rPr lang="en-US" dirty="0" err="1"/>
              <a:t>dibenzoate</a:t>
            </a:r>
            <a:r>
              <a:rPr lang="en-US" dirty="0"/>
              <a:t> decomposes into a product which is toxic to bacteria, and therefore stops the biodegradation process.</a:t>
            </a:r>
          </a:p>
          <a:p>
            <a:endParaRPr lang="en-US" dirty="0"/>
          </a:p>
          <a:p>
            <a:r>
              <a:rPr lang="en-US" dirty="0"/>
              <a:t>With slightly changed structure, 1,5-pentanediol </a:t>
            </a:r>
            <a:r>
              <a:rPr lang="en-US" dirty="0" err="1"/>
              <a:t>dibenzoate</a:t>
            </a:r>
            <a:r>
              <a:rPr lang="en-US" dirty="0"/>
              <a:t> biodegrades into CO</a:t>
            </a:r>
            <a:r>
              <a:rPr lang="en-US" baseline="-25000" dirty="0"/>
              <a:t>2</a:t>
            </a:r>
            <a:r>
              <a:rPr lang="en-US" dirty="0"/>
              <a:t> and H</a:t>
            </a:r>
            <a:r>
              <a:rPr lang="en-US" baseline="-25000" dirty="0"/>
              <a:t>2</a:t>
            </a:r>
            <a:r>
              <a:rPr lang="en-US" dirty="0"/>
              <a:t>O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F6A984F-9F62-4A1D-B28C-28B6CFA7D009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8158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917968" y="152634"/>
            <a:ext cx="435606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Example: Pesticide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0403" y="1585358"/>
            <a:ext cx="2184174" cy="1256039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346389" y="2979512"/>
            <a:ext cx="5796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DT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903106" y="1248876"/>
            <a:ext cx="395922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DT – Dichlorodiphenyltrichloroethane, which was used as agricultural pesticide, is persistent in the environment.</a:t>
            </a:r>
          </a:p>
          <a:p>
            <a:endParaRPr lang="en-US" dirty="0"/>
          </a:p>
          <a:p>
            <a:r>
              <a:rPr lang="en-US" dirty="0"/>
              <a:t>Not only does it bioaccumulates, but it undergoes a reaction to DDE which is even more toxic than DDT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0039" y="1608515"/>
            <a:ext cx="2680607" cy="1370997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4703405" y="3244951"/>
            <a:ext cx="5822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DE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08" y="3963408"/>
            <a:ext cx="3083532" cy="1741714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519063" y="6053465"/>
            <a:ext cx="14748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methoxychlor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7903106" y="4078503"/>
            <a:ext cx="395922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Methoxychlor</a:t>
            </a:r>
            <a:r>
              <a:rPr lang="en-US" dirty="0"/>
              <a:t> shares many insecticidal properties as DDT and it’s potency, but it is not persistent.</a:t>
            </a:r>
          </a:p>
          <a:p>
            <a:endParaRPr lang="en-US" dirty="0"/>
          </a:p>
          <a:p>
            <a:r>
              <a:rPr lang="en-US" dirty="0"/>
              <a:t>It degrades into </a:t>
            </a:r>
            <a:r>
              <a:rPr lang="en-US" dirty="0" err="1"/>
              <a:t>methoxychlor</a:t>
            </a:r>
            <a:r>
              <a:rPr lang="en-US" dirty="0"/>
              <a:t> phenol, which has also low toxicity and it is easily excreted.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63620" y="3914671"/>
            <a:ext cx="3798786" cy="2159139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4464923" y="6109828"/>
            <a:ext cx="21961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Methoxychlor</a:t>
            </a:r>
            <a:r>
              <a:rPr lang="en-US" dirty="0"/>
              <a:t> phenol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667473" y="1687900"/>
            <a:ext cx="18537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Slow degradation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3708872" y="5114596"/>
            <a:ext cx="17764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B050"/>
                </a:solidFill>
              </a:rPr>
              <a:t>Fast degradation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ECECFD1-E82B-45FF-B6CB-6F0DDD85B89C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Arrow: Right 2">
            <a:extLst>
              <a:ext uri="{FF2B5EF4-FFF2-40B4-BE49-F238E27FC236}">
                <a16:creationId xmlns:a16="http://schemas.microsoft.com/office/drawing/2014/main" id="{634D5D9B-B425-42E7-BAEF-78B8FFF07402}"/>
              </a:ext>
            </a:extLst>
          </p:cNvPr>
          <p:cNvSpPr/>
          <p:nvPr/>
        </p:nvSpPr>
        <p:spPr>
          <a:xfrm>
            <a:off x="2834577" y="1951348"/>
            <a:ext cx="983279" cy="391178"/>
          </a:xfrm>
          <a:prstGeom prst="rightArrow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0" name="Arrow: Right 19">
            <a:extLst>
              <a:ext uri="{FF2B5EF4-FFF2-40B4-BE49-F238E27FC236}">
                <a16:creationId xmlns:a16="http://schemas.microsoft.com/office/drawing/2014/main" id="{C47441CA-EBB1-41C2-8DEB-C4CD6ADF21F8}"/>
              </a:ext>
            </a:extLst>
          </p:cNvPr>
          <p:cNvSpPr/>
          <p:nvPr/>
        </p:nvSpPr>
        <p:spPr>
          <a:xfrm>
            <a:off x="2789014" y="4502869"/>
            <a:ext cx="983279" cy="391178"/>
          </a:xfrm>
          <a:prstGeom prst="rightArrow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24385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7778313" y="2174650"/>
            <a:ext cx="391741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Tetrapropylene</a:t>
            </a:r>
            <a:r>
              <a:rPr lang="en-US" dirty="0"/>
              <a:t> alkylbenzene sulfonate (TPPS) was used as a surfactant for laundry detergents and accumulated into the water supply due to incomplete degradation.</a:t>
            </a:r>
          </a:p>
          <a:p>
            <a:endParaRPr lang="en-US" dirty="0"/>
          </a:p>
          <a:p>
            <a:r>
              <a:rPr lang="en-US" dirty="0"/>
              <a:t>Water tended to foam when coming out of the tap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803769" y="162728"/>
            <a:ext cx="458446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Example: Detergent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395185" y="5902904"/>
            <a:ext cx="940162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PPS was replaced by linear alkylbenzene sulfonate (LAS).</a:t>
            </a:r>
          </a:p>
          <a:p>
            <a:r>
              <a:rPr lang="en-US" dirty="0"/>
              <a:t>Replacing the methyl branched chain of TPPS by a linear carbon chain reduces the </a:t>
            </a:r>
            <a:r>
              <a:rPr lang="en-US" dirty="0" err="1"/>
              <a:t>biopersistence</a:t>
            </a:r>
            <a:r>
              <a:rPr lang="en-US" dirty="0"/>
              <a:t>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211506" y="1993115"/>
            <a:ext cx="20894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Low biodegradation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189514" y="4262932"/>
            <a:ext cx="21315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B050"/>
                </a:solidFill>
              </a:rPr>
              <a:t>High biodegradation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A55D7CD-9246-49C4-A220-34187C55F204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Objeto 5">
            <a:extLst>
              <a:ext uri="{FF2B5EF4-FFF2-40B4-BE49-F238E27FC236}">
                <a16:creationId xmlns:a16="http://schemas.microsoft.com/office/drawing/2014/main" id="{3EE76105-A4B5-42DC-B8D1-7E6F50DD607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76363882"/>
              </p:ext>
            </p:extLst>
          </p:nvPr>
        </p:nvGraphicFramePr>
        <p:xfrm>
          <a:off x="1145646" y="1433215"/>
          <a:ext cx="3917420" cy="405749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8" name="CS ChemDraw Drawing" r:id="rId3" imgW="2619629" imgH="2713788" progId="ChemDraw.Document.6.0">
                  <p:embed/>
                </p:oleObj>
              </mc:Choice>
              <mc:Fallback>
                <p:oleObj name="CS ChemDraw Drawing" r:id="rId3" imgW="2619629" imgH="2713788" progId="ChemDraw.Document.6.0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45646" y="1433215"/>
                        <a:ext cx="3917420" cy="405749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4238772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1982" y="1605132"/>
            <a:ext cx="3897462" cy="2017713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5496" y="4603085"/>
            <a:ext cx="3627122" cy="1665515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6909288" y="1868520"/>
            <a:ext cx="486591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Triclosan</a:t>
            </a:r>
            <a:r>
              <a:rPr lang="en-US" dirty="0"/>
              <a:t> is an antibacterial and antifungal agent found in some consumer products, including toothpaste, soaps, detergents, toys, and surgical cleaning treatments.</a:t>
            </a:r>
          </a:p>
          <a:p>
            <a:endParaRPr lang="en-US" dirty="0"/>
          </a:p>
          <a:p>
            <a:r>
              <a:rPr lang="en-US" dirty="0"/>
              <a:t>It persists in the environment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601934" y="157382"/>
            <a:ext cx="698813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Example: Antibacterial Product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909288" y="4619367"/>
            <a:ext cx="486591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Chlorophene</a:t>
            </a:r>
            <a:r>
              <a:rPr lang="en-US" dirty="0"/>
              <a:t> is a </a:t>
            </a:r>
            <a:r>
              <a:rPr lang="en-US" dirty="0" err="1"/>
              <a:t>bacteriocide</a:t>
            </a:r>
            <a:r>
              <a:rPr lang="en-US" dirty="0"/>
              <a:t> and fungicide in cosmetics.</a:t>
            </a:r>
          </a:p>
          <a:p>
            <a:endParaRPr lang="en-US" dirty="0"/>
          </a:p>
          <a:p>
            <a:r>
              <a:rPr lang="en-US" dirty="0"/>
              <a:t>It is very biodegradable in the media and entirely removeable from the wastewater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E7F6841-C817-4D4D-BC8C-46DA2935C0A7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4678747" y="2388733"/>
            <a:ext cx="20894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Low biodegradation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656755" y="5078115"/>
            <a:ext cx="21315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B050"/>
                </a:solidFill>
              </a:rPr>
              <a:t>High biodegradation</a:t>
            </a:r>
          </a:p>
        </p:txBody>
      </p:sp>
    </p:spTree>
    <p:extLst>
      <p:ext uri="{BB962C8B-B14F-4D97-AF65-F5344CB8AC3E}">
        <p14:creationId xmlns:p14="http://schemas.microsoft.com/office/powerpoint/2010/main" val="13515803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19600" y="220460"/>
            <a:ext cx="3352800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Landfil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56343" y="3667924"/>
            <a:ext cx="5635658" cy="2862322"/>
          </a:xfrm>
        </p:spPr>
        <p:txBody>
          <a:bodyPr wrap="square">
            <a:spAutoFit/>
          </a:bodyPr>
          <a:lstStyle/>
          <a:p>
            <a:pPr marL="274320" lvl="1" indent="-274320">
              <a:lnSpc>
                <a:spcPct val="100000"/>
              </a:lnSpc>
              <a:spcBef>
                <a:spcPts val="1200"/>
              </a:spcBef>
            </a:pPr>
            <a:r>
              <a:rPr lang="en-US" sz="2000" dirty="0">
                <a:latin typeface="+mn-lt"/>
              </a:rPr>
              <a:t>consolidated material is buried with mud and other sealing agents to enable chemical, bacteriological, and physical degradation.</a:t>
            </a:r>
          </a:p>
          <a:p>
            <a:pPr marL="274320" lvl="1" indent="-274320">
              <a:lnSpc>
                <a:spcPct val="100000"/>
              </a:lnSpc>
              <a:spcBef>
                <a:spcPts val="1200"/>
              </a:spcBef>
            </a:pPr>
            <a:r>
              <a:rPr lang="en-US" sz="2000" dirty="0">
                <a:latin typeface="+mn-lt"/>
              </a:rPr>
              <a:t>semi-anaerobic conditions lead to production of CH</a:t>
            </a:r>
            <a:r>
              <a:rPr lang="en-US" sz="2000" baseline="-25000" dirty="0">
                <a:latin typeface="+mn-lt"/>
              </a:rPr>
              <a:t>4</a:t>
            </a:r>
            <a:r>
              <a:rPr lang="en-US" sz="2000" dirty="0">
                <a:latin typeface="+mn-lt"/>
              </a:rPr>
              <a:t> and CO</a:t>
            </a:r>
            <a:r>
              <a:rPr lang="en-US" sz="2000" baseline="-25000" dirty="0">
                <a:latin typeface="+mn-lt"/>
              </a:rPr>
              <a:t>2</a:t>
            </a:r>
            <a:r>
              <a:rPr lang="en-US" sz="2000" dirty="0">
                <a:latin typeface="+mn-lt"/>
              </a:rPr>
              <a:t>.</a:t>
            </a:r>
          </a:p>
          <a:p>
            <a:pPr marL="274320" lvl="1" indent="-274320">
              <a:lnSpc>
                <a:spcPct val="100000"/>
              </a:lnSpc>
              <a:spcBef>
                <a:spcPts val="1200"/>
              </a:spcBef>
            </a:pPr>
            <a:r>
              <a:rPr lang="en-US" sz="2000" b="1" dirty="0">
                <a:latin typeface="+mn-lt"/>
              </a:rPr>
              <a:t>if captured</a:t>
            </a:r>
            <a:r>
              <a:rPr lang="en-US" sz="2000" dirty="0">
                <a:latin typeface="+mn-lt"/>
              </a:rPr>
              <a:t>, landfill gas (CH</a:t>
            </a:r>
            <a:r>
              <a:rPr lang="en-US" sz="2000" baseline="-25000" dirty="0">
                <a:latin typeface="+mn-lt"/>
              </a:rPr>
              <a:t>4</a:t>
            </a:r>
            <a:r>
              <a:rPr lang="en-US" sz="2000" dirty="0">
                <a:latin typeface="+mn-lt"/>
              </a:rPr>
              <a:t>) from decomposing garbage can be used to produce electricity, heat, and fuels.</a:t>
            </a:r>
          </a:p>
        </p:txBody>
      </p:sp>
      <p:graphicFrame>
        <p:nvGraphicFramePr>
          <p:cNvPr id="10" name="Diagram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52069774"/>
              </p:ext>
            </p:extLst>
          </p:nvPr>
        </p:nvGraphicFramePr>
        <p:xfrm>
          <a:off x="7783932" y="1219537"/>
          <a:ext cx="3240549" cy="21603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4" name="Striped Right Arrow 13"/>
          <p:cNvSpPr/>
          <p:nvPr/>
        </p:nvSpPr>
        <p:spPr>
          <a:xfrm>
            <a:off x="7283189" y="2981819"/>
            <a:ext cx="500743" cy="468086"/>
          </a:xfrm>
          <a:prstGeom prst="striped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7"/>
          <a:srcRect l="2871" t="4314" r="3815" b="2208"/>
          <a:stretch/>
        </p:blipFill>
        <p:spPr>
          <a:xfrm>
            <a:off x="200416" y="1599876"/>
            <a:ext cx="6513535" cy="4713242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FA21D36-7A48-4AC2-A5C7-8A230B03A408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66700E81-3DF4-084D-AC58-7CC65382E470}"/>
              </a:ext>
            </a:extLst>
          </p:cNvPr>
          <p:cNvSpPr/>
          <p:nvPr/>
        </p:nvSpPr>
        <p:spPr>
          <a:xfrm>
            <a:off x="200416" y="6391747"/>
            <a:ext cx="198035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prstClr val="white">
                    <a:lumMod val="50000"/>
                  </a:prstClr>
                </a:solidFill>
              </a:rPr>
              <a:t>Image: Wikimedia Commons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96714421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48A95427-3833-4554-9530-FFA11871C6B5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EB4221CC-BEBC-4283-B0AD-C9ED7755C0E8}"/>
              </a:ext>
            </a:extLst>
          </p:cNvPr>
          <p:cNvSpPr txBox="1"/>
          <p:nvPr/>
        </p:nvSpPr>
        <p:spPr>
          <a:xfrm>
            <a:off x="1022340" y="1635030"/>
            <a:ext cx="5994419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The Waste Treatment Pyramid</a:t>
            </a: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Reduced Solvent Use</a:t>
            </a: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2800" dirty="0">
                <a:solidFill>
                  <a:prstClr val="black"/>
                </a:solidFill>
              </a:rPr>
              <a:t>Waste as a Feedstock</a:t>
            </a: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2800" dirty="0">
                <a:solidFill>
                  <a:prstClr val="black"/>
                </a:solidFill>
              </a:rPr>
              <a:t>Biodegradation of Waste</a:t>
            </a: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esigning</a:t>
            </a:r>
            <a:r>
              <a:rPr lang="en-US" sz="2800" dirty="0">
                <a:solidFill>
                  <a:prstClr val="black"/>
                </a:solidFill>
              </a:rPr>
              <a:t> Processes to Include Biodegradation of Waste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4416357" y="156411"/>
            <a:ext cx="335931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Topics Covered</a:t>
            </a:r>
          </a:p>
        </p:txBody>
      </p:sp>
    </p:spTree>
    <p:extLst>
      <p:ext uri="{BB962C8B-B14F-4D97-AF65-F5344CB8AC3E}">
        <p14:creationId xmlns:p14="http://schemas.microsoft.com/office/powerpoint/2010/main" val="1430575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253345" y="2701636"/>
            <a:ext cx="378229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/>
              <a:t>QUESTIONS?</a:t>
            </a:r>
            <a:endParaRPr lang="en-US" sz="4800" dirty="0"/>
          </a:p>
        </p:txBody>
      </p:sp>
      <p:sp>
        <p:nvSpPr>
          <p:cNvPr id="3" name="TextBox 2"/>
          <p:cNvSpPr txBox="1"/>
          <p:nvPr/>
        </p:nvSpPr>
        <p:spPr>
          <a:xfrm>
            <a:off x="990599" y="110836"/>
            <a:ext cx="834043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/>
              <a:t>Sponsored by Yale-UNIDO Initiative</a:t>
            </a:r>
          </a:p>
        </p:txBody>
      </p:sp>
      <p:sp>
        <p:nvSpPr>
          <p:cNvPr id="4" name="Rectangle 3"/>
          <p:cNvSpPr/>
          <p:nvPr/>
        </p:nvSpPr>
        <p:spPr>
          <a:xfrm>
            <a:off x="2036618" y="4954158"/>
            <a:ext cx="4662054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dirty="0">
                <a:latin typeface="Times New Roman" charset="0"/>
              </a:rPr>
            </a:br>
            <a:endParaRPr lang="en-US" dirty="0">
              <a:latin typeface="Times New Roman" charset="0"/>
            </a:endParaRPr>
          </a:p>
          <a:p>
            <a:br>
              <a:rPr lang="en-US" dirty="0">
                <a:latin typeface="Times New Roman" charset="0"/>
              </a:rPr>
            </a:br>
            <a:endParaRPr lang="en-US" dirty="0">
              <a:latin typeface="Times New Roman" charset="0"/>
            </a:endParaRPr>
          </a:p>
          <a:p>
            <a:r>
              <a:rPr lang="en-US" dirty="0">
                <a:solidFill>
                  <a:srgbClr val="2F2A2B"/>
                </a:solidFill>
                <a:latin typeface="Times New Roman" charset="0"/>
              </a:rPr>
              <a:t>CENTER </a:t>
            </a:r>
            <a:r>
              <a:rPr lang="en-US" i="1" dirty="0">
                <a:solidFill>
                  <a:srgbClr val="2F2A2B"/>
                </a:solidFill>
                <a:latin typeface="Times New Roman" charset="0"/>
              </a:rPr>
              <a:t>for </a:t>
            </a:r>
            <a:r>
              <a:rPr lang="en-US" dirty="0">
                <a:solidFill>
                  <a:srgbClr val="2F2A2B"/>
                </a:solidFill>
                <a:latin typeface="Times New Roman" charset="0"/>
              </a:rPr>
              <a:t>GREEN CHEMISTRY</a:t>
            </a:r>
          </a:p>
          <a:p>
            <a:r>
              <a:rPr lang="en-US" i="1" dirty="0">
                <a:solidFill>
                  <a:srgbClr val="2F2A2B"/>
                </a:solidFill>
                <a:latin typeface="Times New Roman" charset="0"/>
              </a:rPr>
              <a:t>and </a:t>
            </a:r>
            <a:r>
              <a:rPr lang="en-US" dirty="0">
                <a:solidFill>
                  <a:srgbClr val="2F2A2B"/>
                </a:solidFill>
                <a:latin typeface="Times New Roman" charset="0"/>
              </a:rPr>
              <a:t>GREEN ENGINEERING </a:t>
            </a:r>
            <a:r>
              <a:rPr lang="en-US" i="1" dirty="0">
                <a:solidFill>
                  <a:srgbClr val="2F2A2B"/>
                </a:solidFill>
                <a:latin typeface="Times New Roman" charset="0"/>
              </a:rPr>
              <a:t>at </a:t>
            </a:r>
            <a:r>
              <a:rPr lang="en-US" dirty="0">
                <a:solidFill>
                  <a:srgbClr val="2F2A2B"/>
                </a:solidFill>
                <a:latin typeface="Times New Roman" charset="0"/>
              </a:rPr>
              <a:t>YALE</a:t>
            </a:r>
            <a:endParaRPr lang="en-US" dirty="0">
              <a:solidFill>
                <a:srgbClr val="2F2A2B"/>
              </a:solidFill>
              <a:effectLst/>
              <a:latin typeface="Times New Roman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048000" y="2828836"/>
            <a:ext cx="6096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br>
              <a:rPr lang="en-US" dirty="0">
                <a:latin typeface="Times New Roman" charset="0"/>
              </a:rPr>
            </a:br>
            <a:endParaRPr lang="en-US" dirty="0">
              <a:latin typeface="Times New Roman" charset="0"/>
            </a:endParaRPr>
          </a:p>
          <a:p>
            <a:br>
              <a:rPr lang="en-US" dirty="0">
                <a:latin typeface="Times New Roman" charset="0"/>
              </a:rPr>
            </a:br>
            <a:endParaRPr lang="en-US" dirty="0">
              <a:effectLst/>
              <a:latin typeface="Times New Roman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3314" y="5212194"/>
            <a:ext cx="1020198" cy="149629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35636" y="5831321"/>
            <a:ext cx="3810000" cy="9906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35636" y="4446658"/>
            <a:ext cx="4064000" cy="12192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CB38E7D-B866-3841-B4F7-8CB5ED86839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964" y="2816379"/>
            <a:ext cx="3032234" cy="2274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5592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68771" y="157588"/>
            <a:ext cx="5654458" cy="707886"/>
          </a:xfr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4000" b="1" dirty="0">
                <a:latin typeface="+mn-lt"/>
              </a:rPr>
              <a:t>Incineration and Pyrolysi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0995" y="1371276"/>
            <a:ext cx="8029690" cy="1408078"/>
          </a:xfr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Incineration</a:t>
            </a:r>
          </a:p>
          <a:p>
            <a:pPr lvl="1">
              <a:lnSpc>
                <a:spcPct val="100000"/>
              </a:lnSpc>
              <a:spcBef>
                <a:spcPts val="300"/>
              </a:spcBef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Solid organic waste is combusted.</a:t>
            </a:r>
          </a:p>
          <a:p>
            <a:pPr lvl="1">
              <a:lnSpc>
                <a:spcPct val="100000"/>
              </a:lnSpc>
              <a:spcBef>
                <a:spcPts val="300"/>
              </a:spcBef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Some thermal treatments allow energy capture.</a:t>
            </a:r>
          </a:p>
          <a:p>
            <a:pPr lvl="1">
              <a:lnSpc>
                <a:spcPct val="100000"/>
              </a:lnSpc>
              <a:spcBef>
                <a:spcPts val="300"/>
              </a:spcBef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Solid mass is reduced by 95-96%. </a:t>
            </a:r>
          </a:p>
        </p:txBody>
      </p:sp>
      <p:sp>
        <p:nvSpPr>
          <p:cNvPr id="5" name="Striped Right Arrow 4"/>
          <p:cNvSpPr/>
          <p:nvPr/>
        </p:nvSpPr>
        <p:spPr>
          <a:xfrm>
            <a:off x="7501231" y="2625378"/>
            <a:ext cx="500743" cy="468086"/>
          </a:xfrm>
          <a:prstGeom prst="striped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FC63AB80-0171-4FA3-85E9-6BB74398CEB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18743849"/>
              </p:ext>
            </p:extLst>
          </p:nvPr>
        </p:nvGraphicFramePr>
        <p:xfrm>
          <a:off x="7851662" y="1219537"/>
          <a:ext cx="3240549" cy="21603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4142B3C-6781-4C3B-9BFA-928F755E44B1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F3FD71B1-F76E-40C4-B5EB-FDF63B977FA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70595" y="3863728"/>
            <a:ext cx="4451350" cy="241935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AC2F40B-31E7-6741-BA82-660297C32AA0}"/>
              </a:ext>
            </a:extLst>
          </p:cNvPr>
          <p:cNvSpPr/>
          <p:nvPr/>
        </p:nvSpPr>
        <p:spPr>
          <a:xfrm>
            <a:off x="200416" y="6391747"/>
            <a:ext cx="198035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prstClr val="white">
                    <a:lumMod val="50000"/>
                  </a:prstClr>
                </a:solidFill>
              </a:rPr>
              <a:t>Image: Wikimedia Commons</a:t>
            </a:r>
            <a:endParaRPr lang="en-US" sz="1200" dirty="0"/>
          </a:p>
        </p:txBody>
      </p:sp>
      <p:graphicFrame>
        <p:nvGraphicFramePr>
          <p:cNvPr id="11" name="Group 3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473706"/>
              </p:ext>
            </p:extLst>
          </p:nvPr>
        </p:nvGraphicFramePr>
        <p:xfrm>
          <a:off x="855077" y="4073726"/>
          <a:ext cx="5555149" cy="1771652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27781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770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429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fr-FR" sz="2000" b="1" u="none" strike="noStrike" cap="none" normalizeH="0" baseline="0" dirty="0" err="1">
                          <a:ln>
                            <a:noFill/>
                          </a:ln>
                          <a:effectLst/>
                        </a:rPr>
                        <a:t>Material</a:t>
                      </a:r>
                      <a:endParaRPr kumimoji="0" lang="fr-FR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fr-FR" sz="2000" b="1" i="1" u="none" strike="noStrike" cap="none" normalizeH="0" baseline="0" dirty="0" err="1">
                          <a:ln>
                            <a:noFill/>
                          </a:ln>
                          <a:effectLst/>
                        </a:rPr>
                        <a:t>E</a:t>
                      </a:r>
                      <a:r>
                        <a:rPr kumimoji="0" lang="fr-FR" sz="2000" b="1" u="none" strike="noStrike" cap="none" normalizeH="0" baseline="-25000" dirty="0" err="1">
                          <a:ln>
                            <a:noFill/>
                          </a:ln>
                          <a:effectLst/>
                        </a:rPr>
                        <a:t>combustion</a:t>
                      </a:r>
                      <a:endParaRPr kumimoji="0" lang="fr-FR" sz="2000" b="1" i="0" u="none" strike="noStrike" cap="none" normalizeH="0" baseline="-2500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29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biomass</a:t>
                      </a:r>
                      <a:endParaRPr kumimoji="0" lang="fr-FR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14-17 GJ ton</a:t>
                      </a:r>
                      <a:r>
                        <a:rPr kumimoji="0" lang="en-US" sz="2000" u="none" strike="noStrike" cap="none" normalizeH="0" baseline="30000" dirty="0">
                          <a:ln>
                            <a:noFill/>
                          </a:ln>
                          <a:effectLst/>
                        </a:rPr>
                        <a:t>-1</a:t>
                      </a:r>
                      <a:endParaRPr kumimoji="0" lang="fr-FR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29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fr-FR" sz="2000" u="none" strike="noStrike" cap="none" normalizeH="0" baseline="0" dirty="0" err="1">
                          <a:ln>
                            <a:noFill/>
                          </a:ln>
                          <a:effectLst/>
                        </a:rPr>
                        <a:t>oil</a:t>
                      </a:r>
                      <a:endParaRPr kumimoji="0" lang="fr-FR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fr-FR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45 </a:t>
                      </a:r>
                      <a:r>
                        <a:rPr kumimoji="0" lang="en-US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GJ ton</a:t>
                      </a:r>
                      <a:r>
                        <a:rPr kumimoji="0" lang="en-US" sz="2000" u="none" strike="noStrike" cap="none" normalizeH="0" baseline="30000" dirty="0">
                          <a:ln>
                            <a:noFill/>
                          </a:ln>
                          <a:effectLst/>
                        </a:rPr>
                        <a:t>-1</a:t>
                      </a:r>
                      <a:endParaRPr kumimoji="0" lang="fr-FR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29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fr-FR" sz="2000" u="none" strike="noStrike" cap="none" normalizeH="0" baseline="0" dirty="0" err="1">
                          <a:ln>
                            <a:noFill/>
                          </a:ln>
                          <a:effectLst/>
                        </a:rPr>
                        <a:t>natural</a:t>
                      </a:r>
                      <a:r>
                        <a:rPr kumimoji="0" lang="fr-FR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 </a:t>
                      </a:r>
                      <a:r>
                        <a:rPr kumimoji="0" lang="fr-FR" sz="2000" u="none" strike="noStrike" cap="none" normalizeH="0" baseline="0" dirty="0" err="1">
                          <a:ln>
                            <a:noFill/>
                          </a:ln>
                          <a:effectLst/>
                        </a:rPr>
                        <a:t>gas</a:t>
                      </a:r>
                      <a:endParaRPr kumimoji="0" lang="fr-FR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fr-FR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55 </a:t>
                      </a:r>
                      <a:r>
                        <a:rPr kumimoji="0" lang="en-US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GJ ton</a:t>
                      </a:r>
                      <a:r>
                        <a:rPr kumimoji="0" lang="en-US" sz="2000" u="none" strike="noStrike" cap="none" normalizeH="0" baseline="30000" dirty="0">
                          <a:ln>
                            <a:noFill/>
                          </a:ln>
                          <a:effectLst/>
                        </a:rPr>
                        <a:t>-1</a:t>
                      </a:r>
                      <a:endParaRPr kumimoji="0" lang="fr-FR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49391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86100" y="238006"/>
            <a:ext cx="6019800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Recycling and Composting</a:t>
            </a:r>
          </a:p>
        </p:txBody>
      </p:sp>
      <p:sp>
        <p:nvSpPr>
          <p:cNvPr id="5" name="Striped Right Arrow 4"/>
          <p:cNvSpPr/>
          <p:nvPr/>
        </p:nvSpPr>
        <p:spPr>
          <a:xfrm>
            <a:off x="7607673" y="2301064"/>
            <a:ext cx="500743" cy="468086"/>
          </a:xfrm>
          <a:prstGeom prst="striped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32AF2F5E-113B-41D8-8149-1B559A630342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7783932" y="1219537"/>
          <a:ext cx="3240549" cy="21603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A22B1C7-098C-4E78-AA22-E26A5D34C70B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DCC0D63-5AD1-E14A-993F-1CCEB9DF09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8367" y="1177974"/>
            <a:ext cx="7046944" cy="4708981"/>
          </a:xfrm>
        </p:spPr>
        <p:txBody>
          <a:bodyPr wrap="square">
            <a:sp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Pyrolysis:</a:t>
            </a:r>
          </a:p>
          <a:p>
            <a:pPr marL="0" lvl="1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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thermal decomposition at </a:t>
            </a:r>
            <a:r>
              <a:rPr lang="hu-HU" sz="2000" dirty="0">
                <a:latin typeface="Arial" panose="020B0604020202020204" pitchFamily="34" charset="0"/>
                <a:cs typeface="Arial" panose="020B0604020202020204" pitchFamily="34" charset="0"/>
              </a:rPr>
              <a:t>200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hu-HU" sz="2000" dirty="0">
                <a:latin typeface="Arial" panose="020B0604020202020204" pitchFamily="34" charset="0"/>
                <a:cs typeface="Arial" panose="020B0604020202020204" pitchFamily="34" charset="0"/>
              </a:rPr>
              <a:t>300°C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in absence of oxygen.</a:t>
            </a:r>
          </a:p>
          <a:p>
            <a:pPr marL="0" lvl="1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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precursor to combustion and gasification processes.</a:t>
            </a:r>
          </a:p>
          <a:p>
            <a:pPr marL="0" lvl="1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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biomass pyrolysis gives biochar, bio-oil, and gases (CH</a:t>
            </a:r>
            <a:r>
              <a:rPr lang="en-US" sz="2000" baseline="-250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, H</a:t>
            </a:r>
            <a:r>
              <a:rPr lang="en-US" sz="2000" baseline="-250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, CO, CO</a:t>
            </a:r>
            <a:r>
              <a:rPr lang="en-US" sz="2000" baseline="-250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Gasification:</a:t>
            </a:r>
          </a:p>
          <a:p>
            <a:pPr marL="0" lvl="1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 c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onverts organic based materials into CO, H</a:t>
            </a:r>
            <a:r>
              <a:rPr lang="en-US" sz="2000" baseline="-250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and CO</a:t>
            </a:r>
            <a:r>
              <a:rPr lang="en-US" sz="2000" baseline="-250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0" lvl="1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 a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chieved by reacting the material at high temperatures (&gt;700 °C) </a:t>
            </a:r>
            <a:r>
              <a:rPr lang="en-US" sz="2000" b="1" i="1" dirty="0">
                <a:latin typeface="Arial" panose="020B0604020202020204" pitchFamily="34" charset="0"/>
                <a:cs typeface="Arial" panose="020B0604020202020204" pitchFamily="34" charset="0"/>
              </a:rPr>
              <a:t>without combustion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, with a controlled amount of oxygen and/or stem.</a:t>
            </a:r>
          </a:p>
          <a:p>
            <a:pPr marL="0" lvl="1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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resulting gas mixture is called </a:t>
            </a:r>
            <a:r>
              <a:rPr lang="en-US" sz="2000" b="1" i="1" dirty="0">
                <a:latin typeface="Arial" panose="020B0604020202020204" pitchFamily="34" charset="0"/>
                <a:cs typeface="Arial" panose="020B0604020202020204" pitchFamily="34" charset="0"/>
              </a:rPr>
              <a:t>syngas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0" lvl="1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 s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yngas is combustible, often used as a fuel.</a:t>
            </a:r>
          </a:p>
        </p:txBody>
      </p:sp>
    </p:spTree>
    <p:extLst>
      <p:ext uri="{BB962C8B-B14F-4D97-AF65-F5344CB8AC3E}">
        <p14:creationId xmlns:p14="http://schemas.microsoft.com/office/powerpoint/2010/main" val="23290092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86100" y="238006"/>
            <a:ext cx="6019800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Recycling and Composting</a:t>
            </a:r>
          </a:p>
        </p:txBody>
      </p:sp>
      <p:sp>
        <p:nvSpPr>
          <p:cNvPr id="5" name="Striped Right Arrow 4"/>
          <p:cNvSpPr/>
          <p:nvPr/>
        </p:nvSpPr>
        <p:spPr>
          <a:xfrm>
            <a:off x="7607673" y="2301064"/>
            <a:ext cx="500743" cy="468086"/>
          </a:xfrm>
          <a:prstGeom prst="striped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911307" y="1475734"/>
            <a:ext cx="6727372" cy="34219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2400" dirty="0">
                <a:latin typeface="+mn-lt"/>
              </a:rPr>
              <a:t>Composting</a:t>
            </a:r>
          </a:p>
          <a:p>
            <a:pPr marL="541338" lvl="1" indent="-342900">
              <a:buFont typeface="Arial" charset="0"/>
              <a:buChar char="•"/>
            </a:pPr>
            <a:r>
              <a:rPr lang="en-US" sz="2000" dirty="0"/>
              <a:t>Organics undergo a biological decomposition to form a material (compost) that is non-toxic to plant growth. </a:t>
            </a:r>
          </a:p>
          <a:p>
            <a:pPr marL="541338" lvl="1" indent="-342900">
              <a:buFont typeface="Arial" charset="0"/>
              <a:buChar char="•"/>
            </a:pPr>
            <a:r>
              <a:rPr lang="en-US" sz="2000" dirty="0"/>
              <a:t>By-product of </a:t>
            </a:r>
            <a:r>
              <a:rPr lang="en-US" sz="2000" dirty="0">
                <a:latin typeface="+mn-lt"/>
              </a:rPr>
              <a:t>the reaction are CO</a:t>
            </a:r>
            <a:r>
              <a:rPr lang="en-US" sz="2000" baseline="-25000" dirty="0">
                <a:latin typeface="+mn-lt"/>
              </a:rPr>
              <a:t>2</a:t>
            </a:r>
            <a:r>
              <a:rPr lang="en-US" sz="2000" dirty="0">
                <a:latin typeface="+mn-lt"/>
              </a:rPr>
              <a:t>, water and heat.</a:t>
            </a:r>
          </a:p>
          <a:p>
            <a:pPr marL="0" indent="0">
              <a:buNone/>
            </a:pPr>
            <a:r>
              <a:rPr lang="en-US" sz="2400" dirty="0">
                <a:latin typeface="+mn-lt"/>
              </a:rPr>
              <a:t>Anaerobic conditions and biogas production</a:t>
            </a:r>
          </a:p>
          <a:p>
            <a:pPr marL="541338" lvl="1" indent="-342900">
              <a:buFont typeface="Arial" charset="0"/>
              <a:buChar char="•"/>
            </a:pPr>
            <a:r>
              <a:rPr lang="en-US" sz="2000" dirty="0"/>
              <a:t>Adopted for farm waste.</a:t>
            </a:r>
          </a:p>
          <a:p>
            <a:pPr marL="541338" lvl="1" indent="-342900">
              <a:buFont typeface="Arial" charset="0"/>
              <a:buChar char="•"/>
            </a:pPr>
            <a:r>
              <a:rPr lang="en-US" sz="2000" dirty="0"/>
              <a:t>Can reduce greenhouse gas emissions and can provide a cost-effective source of renewable energy. </a:t>
            </a:r>
          </a:p>
          <a:p>
            <a:pPr marL="541338" lvl="1" indent="-342900">
              <a:buFont typeface="Arial" charset="0"/>
              <a:buChar char="•"/>
            </a:pPr>
            <a:r>
              <a:rPr lang="en-US" sz="2000" dirty="0"/>
              <a:t>Recovered biogas can be an energy source for electricity, heating or </a:t>
            </a:r>
            <a:r>
              <a:rPr lang="en-US" sz="2000" dirty="0">
                <a:latin typeface="+mn-lt"/>
              </a:rPr>
              <a:t>transportation fuel.</a:t>
            </a: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32AF2F5E-113B-41D8-8149-1B559A63034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22818965"/>
              </p:ext>
            </p:extLst>
          </p:nvPr>
        </p:nvGraphicFramePr>
        <p:xfrm>
          <a:off x="7783932" y="1219537"/>
          <a:ext cx="3240549" cy="21603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A22B1C7-098C-4E78-AA22-E26A5D34C70B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23585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0400" y="174796"/>
            <a:ext cx="5791200" cy="707886"/>
          </a:xfr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4000" b="1" dirty="0">
                <a:latin typeface="+mn-lt"/>
              </a:rPr>
              <a:t>Reuse and Repurpose</a:t>
            </a:r>
          </a:p>
        </p:txBody>
      </p:sp>
      <p:sp>
        <p:nvSpPr>
          <p:cNvPr id="6" name="Striped Right Arrow 5"/>
          <p:cNvSpPr/>
          <p:nvPr/>
        </p:nvSpPr>
        <p:spPr>
          <a:xfrm>
            <a:off x="8063054" y="1888094"/>
            <a:ext cx="481323" cy="468086"/>
          </a:xfrm>
          <a:prstGeom prst="stripedRightArrow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6B60D04D-999E-4E3F-9789-F27CC2DC981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17980836"/>
              </p:ext>
            </p:extLst>
          </p:nvPr>
        </p:nvGraphicFramePr>
        <p:xfrm>
          <a:off x="7800866" y="1241839"/>
          <a:ext cx="3240549" cy="21603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62FDCB4-4B97-4E87-A77D-683C73F7DE4E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2045B39-DB5B-B645-98A4-74F17CA7219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2054999"/>
          </a:xfrm>
        </p:spPr>
        <p:txBody>
          <a:bodyPr/>
          <a:lstStyle/>
          <a:p>
            <a:pPr marL="0" indent="0">
              <a:buNone/>
            </a:pPr>
            <a:r>
              <a:rPr lang="en-US" sz="2400" dirty="0"/>
              <a:t>Recycling</a:t>
            </a:r>
          </a:p>
          <a:p>
            <a:pPr marL="541338" lvl="1" indent="-342900">
              <a:buFont typeface="Arial" charset="0"/>
              <a:buChar char="•"/>
            </a:pPr>
            <a:r>
              <a:rPr lang="en-US" sz="2000" dirty="0"/>
              <a:t>Converting waste materials into new materials and objects.</a:t>
            </a:r>
          </a:p>
          <a:p>
            <a:pPr marL="541338" lvl="1" indent="-342900">
              <a:buFont typeface="Arial" charset="0"/>
              <a:buChar char="•"/>
            </a:pPr>
            <a:r>
              <a:rPr lang="en-US" sz="2000" dirty="0"/>
              <a:t>Available for metals, plastic, paper, glass.</a:t>
            </a:r>
          </a:p>
          <a:p>
            <a:pPr marL="541338" lvl="1" indent="-342900">
              <a:buFont typeface="Arial" charset="0"/>
              <a:buChar char="•"/>
            </a:pPr>
            <a:r>
              <a:rPr lang="en-US" sz="2000" dirty="0"/>
              <a:t>E.g. PET reuse and repurposing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54A97F2-9A0C-5B48-B5B9-D9963F0DB0B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0773" y="3473132"/>
            <a:ext cx="6383369" cy="3085366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3A89D11-D615-EA42-9B8F-DC226145C43A}"/>
              </a:ext>
            </a:extLst>
          </p:cNvPr>
          <p:cNvSpPr txBox="1"/>
          <p:nvPr/>
        </p:nvSpPr>
        <p:spPr>
          <a:xfrm>
            <a:off x="165865" y="6569396"/>
            <a:ext cx="116753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http://</a:t>
            </a:r>
            <a:r>
              <a:rPr lang="en-US" sz="1200" dirty="0" err="1"/>
              <a:t>www.packagingtoday.co.uk</a:t>
            </a:r>
            <a:r>
              <a:rPr lang="en-US" sz="1200" dirty="0"/>
              <a:t>/news/newsgermans-recycle-more-and-more-effectively-success-in-pet-bottle-recycling-according-to-study-5699219</a:t>
            </a: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7120954" y="6309121"/>
            <a:ext cx="4340670" cy="4846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1800" b="1" dirty="0">
                <a:latin typeface="+mn-lt"/>
              </a:rPr>
              <a:t>Cost-benefit of recycling: energy savings</a:t>
            </a:r>
          </a:p>
        </p:txBody>
      </p:sp>
      <p:graphicFrame>
        <p:nvGraphicFramePr>
          <p:cNvPr id="12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96653067"/>
              </p:ext>
            </p:extLst>
          </p:nvPr>
        </p:nvGraphicFramePr>
        <p:xfrm>
          <a:off x="7839725" y="3488428"/>
          <a:ext cx="3128962" cy="2595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6448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6448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Mater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Energy saving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Aluminu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9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Cardbo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24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Gla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5-3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Pap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4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Plastic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7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Ste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6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190668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24623" y="163196"/>
            <a:ext cx="8735173" cy="707886"/>
          </a:xfr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4000" b="1" dirty="0">
                <a:latin typeface="+mn-lt"/>
              </a:rPr>
              <a:t>The Reduction and Elimination of Wast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45633" y="2495396"/>
            <a:ext cx="6604000" cy="2862322"/>
          </a:xfrm>
        </p:spPr>
        <p:txBody>
          <a:bodyPr wrap="square">
            <a:spAutoFit/>
          </a:bodyPr>
          <a:lstStyle/>
          <a:p>
            <a:pPr marL="274320" indent="-274320">
              <a:lnSpc>
                <a:spcPct val="100000"/>
              </a:lnSpc>
              <a:spcBef>
                <a:spcPts val="1200"/>
              </a:spcBef>
            </a:pPr>
            <a:r>
              <a:rPr lang="en-US" b="1" dirty="0">
                <a:latin typeface="+mn-lt"/>
              </a:rPr>
              <a:t>Reduced solvent or </a:t>
            </a:r>
            <a:r>
              <a:rPr lang="en-US" b="1" dirty="0" err="1">
                <a:latin typeface="+mn-lt"/>
              </a:rPr>
              <a:t>solventless</a:t>
            </a:r>
            <a:r>
              <a:rPr lang="en-US" b="1" dirty="0">
                <a:latin typeface="+mn-lt"/>
              </a:rPr>
              <a:t> processes</a:t>
            </a:r>
          </a:p>
          <a:p>
            <a:pPr marL="274320" indent="-274320">
              <a:lnSpc>
                <a:spcPct val="100000"/>
              </a:lnSpc>
              <a:spcBef>
                <a:spcPts val="1200"/>
              </a:spcBef>
            </a:pPr>
            <a:r>
              <a:rPr lang="en-US" dirty="0">
                <a:latin typeface="+mn-lt"/>
              </a:rPr>
              <a:t>Self separation</a:t>
            </a:r>
          </a:p>
          <a:p>
            <a:pPr marL="274320" indent="-274320">
              <a:lnSpc>
                <a:spcPct val="100000"/>
              </a:lnSpc>
              <a:spcBef>
                <a:spcPts val="1200"/>
              </a:spcBef>
            </a:pPr>
            <a:r>
              <a:rPr lang="en-US" dirty="0">
                <a:latin typeface="+mn-lt"/>
              </a:rPr>
              <a:t>Process intensification</a:t>
            </a:r>
          </a:p>
          <a:p>
            <a:pPr marL="274320" indent="-274320">
              <a:lnSpc>
                <a:spcPct val="100000"/>
              </a:lnSpc>
              <a:spcBef>
                <a:spcPts val="1200"/>
              </a:spcBef>
            </a:pPr>
            <a:r>
              <a:rPr lang="en-US" dirty="0">
                <a:latin typeface="+mn-lt"/>
              </a:rPr>
              <a:t>Material deposition</a:t>
            </a:r>
          </a:p>
          <a:p>
            <a:pPr marL="274320" indent="-274320">
              <a:lnSpc>
                <a:spcPct val="100000"/>
              </a:lnSpc>
              <a:spcBef>
                <a:spcPts val="1200"/>
              </a:spcBef>
            </a:pPr>
            <a:r>
              <a:rPr lang="en-US" b="1" dirty="0">
                <a:latin typeface="+mn-lt"/>
              </a:rPr>
              <a:t>Use waste as a feedstock</a:t>
            </a:r>
          </a:p>
        </p:txBody>
      </p:sp>
      <p:sp>
        <p:nvSpPr>
          <p:cNvPr id="5" name="Striped Right Arrow 4"/>
          <p:cNvSpPr/>
          <p:nvPr/>
        </p:nvSpPr>
        <p:spPr>
          <a:xfrm>
            <a:off x="8355515" y="1516904"/>
            <a:ext cx="500743" cy="468086"/>
          </a:xfrm>
          <a:prstGeom prst="stripedRightArrow">
            <a:avLst/>
          </a:prstGeom>
          <a:solidFill>
            <a:srgbClr val="A9D1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80FAB45D-9C80-44D5-8007-2AD94E3BEA1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81677262"/>
              </p:ext>
            </p:extLst>
          </p:nvPr>
        </p:nvGraphicFramePr>
        <p:xfrm>
          <a:off x="7800872" y="1219537"/>
          <a:ext cx="3240549" cy="21603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DCD7C3D-CF0B-4C8B-8F9E-61CCA7356905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02955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hemistry*flask*becker*science*experiment*chemical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426</TotalTime>
  <Words>2484</Words>
  <Application>Microsoft Office PowerPoint</Application>
  <PresentationFormat>Widescreen</PresentationFormat>
  <Paragraphs>471</Paragraphs>
  <Slides>41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1</vt:i4>
      </vt:variant>
    </vt:vector>
  </HeadingPairs>
  <TitlesOfParts>
    <vt:vector size="53" baseType="lpstr">
      <vt:lpstr>MS Mincho</vt:lpstr>
      <vt:lpstr>ＭＳ Ｐゴシック</vt:lpstr>
      <vt:lpstr>Arial</vt:lpstr>
      <vt:lpstr>Calibri</vt:lpstr>
      <vt:lpstr>Calibri Light</vt:lpstr>
      <vt:lpstr>Calibri Regular</vt:lpstr>
      <vt:lpstr>Symbol</vt:lpstr>
      <vt:lpstr>Times</vt:lpstr>
      <vt:lpstr>Times New Roman</vt:lpstr>
      <vt:lpstr>Wingdings</vt:lpstr>
      <vt:lpstr>Office Theme</vt:lpstr>
      <vt:lpstr>CS ChemDraw Drawing</vt:lpstr>
      <vt:lpstr>Yale-UNIDO Train-the-Facilitator Workshop in Green Chemistry</vt:lpstr>
      <vt:lpstr>PowerPoint Presentation</vt:lpstr>
      <vt:lpstr>Waste treatment pyramid: The 4 R’s: Reduce, Reuse, Recycle, Recover</vt:lpstr>
      <vt:lpstr>Landfills</vt:lpstr>
      <vt:lpstr>Incineration and Pyrolysis</vt:lpstr>
      <vt:lpstr>Recycling and Composting</vt:lpstr>
      <vt:lpstr>Recycling and Composting</vt:lpstr>
      <vt:lpstr>Reuse and Repurpose</vt:lpstr>
      <vt:lpstr>The Reduction and Elimination of Waste</vt:lpstr>
      <vt:lpstr>PowerPoint Presentation</vt:lpstr>
      <vt:lpstr>PowerPoint Presentation</vt:lpstr>
      <vt:lpstr>PowerPoint Presentation</vt:lpstr>
      <vt:lpstr>Utilizing Waste as a Feedstock</vt:lpstr>
      <vt:lpstr>Example: Used oils as biofuel source</vt:lpstr>
      <vt:lpstr>Glycerol: a waste of biodiesel</vt:lpstr>
      <vt:lpstr>Glycerol: a waste of biodiesel</vt:lpstr>
      <vt:lpstr>Production and Applications of Lactic Acid- Conventional process</vt:lpstr>
      <vt:lpstr>PowerPoint Presentation</vt:lpstr>
      <vt:lpstr>Bayer Process (again!)</vt:lpstr>
      <vt:lpstr>Generation of Biofuels (again!)</vt:lpstr>
      <vt:lpstr>Neutralization of Red Mud through Generation of Biofuels</vt:lpstr>
      <vt:lpstr>Example: Extracting chitin with an ionic liquid</vt:lpstr>
      <vt:lpstr>Biodegrade the Waste</vt:lpstr>
      <vt:lpstr>Aerobic Versus Anaerobic Digestion</vt:lpstr>
      <vt:lpstr>Aerobic Digestion</vt:lpstr>
      <vt:lpstr>Anaerobic Digestion</vt:lpstr>
      <vt:lpstr>Digestion versus Chemical Structure</vt:lpstr>
      <vt:lpstr>Some chemical structures favor biodegradation</vt:lpstr>
      <vt:lpstr>Predicting Biodegradation: EPA, EPISuite</vt:lpstr>
      <vt:lpstr>BIOWIN Models Based on Molecular Fragment Contribution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rolina Mellor</dc:creator>
  <cp:lastModifiedBy>TF</cp:lastModifiedBy>
  <cp:revision>106</cp:revision>
  <dcterms:created xsi:type="dcterms:W3CDTF">2018-01-20T18:10:52Z</dcterms:created>
  <dcterms:modified xsi:type="dcterms:W3CDTF">2018-11-28T01:12:40Z</dcterms:modified>
</cp:coreProperties>
</file>